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874" r:id="rId2"/>
    <p:sldId id="836" r:id="rId3"/>
    <p:sldId id="798" r:id="rId4"/>
    <p:sldId id="846" r:id="rId5"/>
    <p:sldId id="878" r:id="rId6"/>
    <p:sldId id="842" r:id="rId7"/>
    <p:sldId id="875" r:id="rId8"/>
    <p:sldId id="813" r:id="rId9"/>
    <p:sldId id="853" r:id="rId10"/>
    <p:sldId id="876" r:id="rId11"/>
    <p:sldId id="857" r:id="rId12"/>
    <p:sldId id="823" r:id="rId13"/>
    <p:sldId id="877" r:id="rId14"/>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69B37"/>
    <a:srgbClr val="84B3A4"/>
    <a:srgbClr val="829662"/>
    <a:srgbClr val="BA421E"/>
    <a:srgbClr val="0A0106"/>
    <a:srgbClr val="D4631E"/>
    <a:srgbClr val="E1732F"/>
    <a:srgbClr val="31302E"/>
    <a:srgbClr val="DB532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深色样式 1 - 强调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8034E78-7F5D-4C2E-B375-FC64B27BC917}" styleName="深色样式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899" autoAdjust="0"/>
    <p:restoredTop sz="95529" autoAdjust="0"/>
  </p:normalViewPr>
  <p:slideViewPr>
    <p:cSldViewPr>
      <p:cViewPr varScale="1">
        <p:scale>
          <a:sx n="119" d="100"/>
          <a:sy n="119" d="100"/>
        </p:scale>
        <p:origin x="88" y="416"/>
      </p:cViewPr>
      <p:guideLst>
        <p:guide orient="horz" pos="1620"/>
        <p:guide pos="2880"/>
      </p:guideLst>
    </p:cSldViewPr>
  </p:slideViewPr>
  <p:notesTextViewPr>
    <p:cViewPr>
      <p:scale>
        <a:sx n="25" d="100"/>
        <a:sy n="25"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FD96D07-341D-4D88-BBFE-B431BFA04196}" type="datetimeFigureOut">
              <a:rPr lang="zh-CN" altLang="en-US" smtClean="0"/>
              <a:t>2021/4/28</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B2A0F9D-3357-4A94-85C8-3B842B870DC6}" type="slidenum">
              <a:rPr lang="zh-CN" altLang="en-US" smtClean="0"/>
              <a:t>‹#›</a:t>
            </a:fld>
            <a:endParaRPr lang="zh-CN" altLang="en-US"/>
          </a:p>
        </p:txBody>
      </p:sp>
    </p:spTree>
    <p:extLst>
      <p:ext uri="{BB962C8B-B14F-4D97-AF65-F5344CB8AC3E}">
        <p14:creationId xmlns:p14="http://schemas.microsoft.com/office/powerpoint/2010/main" val="42755137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a:t>
            </a:fld>
            <a:endParaRPr lang="zh-CN" altLang="en-US">
              <a:solidFill>
                <a:prstClr val="black"/>
              </a:solidFill>
            </a:endParaRPr>
          </a:p>
        </p:txBody>
      </p:sp>
    </p:spTree>
    <p:extLst>
      <p:ext uri="{BB962C8B-B14F-4D97-AF65-F5344CB8AC3E}">
        <p14:creationId xmlns:p14="http://schemas.microsoft.com/office/powerpoint/2010/main" val="12568250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1</a:t>
            </a:fld>
            <a:endParaRPr lang="zh-CN" altLang="en-US">
              <a:solidFill>
                <a:prstClr val="black"/>
              </a:solidFill>
            </a:endParaRPr>
          </a:p>
        </p:txBody>
      </p:sp>
    </p:spTree>
    <p:extLst>
      <p:ext uri="{BB962C8B-B14F-4D97-AF65-F5344CB8AC3E}">
        <p14:creationId xmlns:p14="http://schemas.microsoft.com/office/powerpoint/2010/main" val="25226622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2400782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a:t>
            </a:fld>
            <a:endParaRPr lang="zh-CN" altLang="en-US">
              <a:solidFill>
                <a:prstClr val="black"/>
              </a:solidFill>
            </a:endParaRPr>
          </a:p>
        </p:txBody>
      </p:sp>
    </p:spTree>
    <p:extLst>
      <p:ext uri="{BB962C8B-B14F-4D97-AF65-F5344CB8AC3E}">
        <p14:creationId xmlns:p14="http://schemas.microsoft.com/office/powerpoint/2010/main" val="913104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4</a:t>
            </a:fld>
            <a:endParaRPr lang="zh-CN" altLang="en-US">
              <a:solidFill>
                <a:prstClr val="black"/>
              </a:solidFill>
            </a:endParaRPr>
          </a:p>
        </p:txBody>
      </p:sp>
    </p:spTree>
    <p:extLst>
      <p:ext uri="{BB962C8B-B14F-4D97-AF65-F5344CB8AC3E}">
        <p14:creationId xmlns:p14="http://schemas.microsoft.com/office/powerpoint/2010/main" val="462110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5</a:t>
            </a:fld>
            <a:endParaRPr lang="zh-CN" altLang="en-US">
              <a:solidFill>
                <a:prstClr val="black"/>
              </a:solidFill>
            </a:endParaRPr>
          </a:p>
        </p:txBody>
      </p:sp>
    </p:spTree>
    <p:extLst>
      <p:ext uri="{BB962C8B-B14F-4D97-AF65-F5344CB8AC3E}">
        <p14:creationId xmlns:p14="http://schemas.microsoft.com/office/powerpoint/2010/main" val="26150672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6</a:t>
            </a:fld>
            <a:endParaRPr lang="zh-CN" altLang="en-US">
              <a:solidFill>
                <a:prstClr val="black"/>
              </a:solidFill>
            </a:endParaRPr>
          </a:p>
        </p:txBody>
      </p:sp>
    </p:spTree>
    <p:extLst>
      <p:ext uri="{BB962C8B-B14F-4D97-AF65-F5344CB8AC3E}">
        <p14:creationId xmlns:p14="http://schemas.microsoft.com/office/powerpoint/2010/main" val="27503513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7</a:t>
            </a:fld>
            <a:endParaRPr lang="zh-CN" altLang="en-US">
              <a:solidFill>
                <a:prstClr val="black"/>
              </a:solidFill>
            </a:endParaRPr>
          </a:p>
        </p:txBody>
      </p:sp>
    </p:spTree>
    <p:extLst>
      <p:ext uri="{BB962C8B-B14F-4D97-AF65-F5344CB8AC3E}">
        <p14:creationId xmlns:p14="http://schemas.microsoft.com/office/powerpoint/2010/main" val="2284391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8</a:t>
            </a:fld>
            <a:endParaRPr lang="zh-CN" altLang="en-US">
              <a:solidFill>
                <a:prstClr val="black"/>
              </a:solidFill>
            </a:endParaRPr>
          </a:p>
        </p:txBody>
      </p:sp>
    </p:spTree>
    <p:extLst>
      <p:ext uri="{BB962C8B-B14F-4D97-AF65-F5344CB8AC3E}">
        <p14:creationId xmlns:p14="http://schemas.microsoft.com/office/powerpoint/2010/main" val="39644122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9</a:t>
            </a:fld>
            <a:endParaRPr lang="zh-CN" altLang="en-US">
              <a:solidFill>
                <a:prstClr val="black"/>
              </a:solidFill>
            </a:endParaRPr>
          </a:p>
        </p:txBody>
      </p:sp>
    </p:spTree>
    <p:extLst>
      <p:ext uri="{BB962C8B-B14F-4D97-AF65-F5344CB8AC3E}">
        <p14:creationId xmlns:p14="http://schemas.microsoft.com/office/powerpoint/2010/main" val="26387114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0</a:t>
            </a:fld>
            <a:endParaRPr lang="zh-CN" altLang="en-US">
              <a:solidFill>
                <a:prstClr val="black"/>
              </a:solidFill>
            </a:endParaRPr>
          </a:p>
        </p:txBody>
      </p:sp>
    </p:spTree>
    <p:extLst>
      <p:ext uri="{BB962C8B-B14F-4D97-AF65-F5344CB8AC3E}">
        <p14:creationId xmlns:p14="http://schemas.microsoft.com/office/powerpoint/2010/main" val="504483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66469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457200" y="1200151"/>
            <a:ext cx="8229600" cy="3394472"/>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4/28</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657523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54781"/>
            <a:ext cx="2057400" cy="3290888"/>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154781"/>
            <a:ext cx="6019800" cy="3290888"/>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4/28</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088271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12918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4/28</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2916379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457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4/28</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22892295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151335"/>
            <a:ext cx="4040188"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631156"/>
            <a:ext cx="4040188"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6" y="1151335"/>
            <a:ext cx="4041775"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6" y="1631156"/>
            <a:ext cx="4041775"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4/28</a:t>
            </a:fld>
            <a:endParaRPr lang="zh-CN" altLang="en-US"/>
          </a:p>
        </p:txBody>
      </p:sp>
      <p:sp>
        <p:nvSpPr>
          <p:cNvPr id="8" name="页脚占位符 7"/>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8178365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4/28</a:t>
            </a:fld>
            <a:endParaRPr lang="zh-CN" altLang="en-US"/>
          </a:p>
        </p:txBody>
      </p:sp>
      <p:sp>
        <p:nvSpPr>
          <p:cNvPr id="4" name="页脚占位符 3"/>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38240265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4/28</a:t>
            </a:fld>
            <a:endParaRPr lang="zh-CN" altLang="en-US"/>
          </a:p>
        </p:txBody>
      </p:sp>
      <p:sp>
        <p:nvSpPr>
          <p:cNvPr id="3" name="页脚占位符 2"/>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496329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a:prstGeom prst="rect">
            <a:avLst/>
          </a:prstGeo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4/28</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35966006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a:prstGeom prst="rect">
            <a:avLst/>
          </a:prstGeo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21/4/28</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1803075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spTree>
    <p:extLst>
      <p:ext uri="{BB962C8B-B14F-4D97-AF65-F5344CB8AC3E}">
        <p14:creationId xmlns:p14="http://schemas.microsoft.com/office/powerpoint/2010/main" val="15721976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17.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14.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14.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16.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5.png"/><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图片 19">
            <a:extLst>
              <a:ext uri="{FF2B5EF4-FFF2-40B4-BE49-F238E27FC236}">
                <a16:creationId xmlns:a16="http://schemas.microsoft.com/office/drawing/2014/main" id="{32A8E6D3-750E-4B8F-95DA-82C2102787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99365" y="915566"/>
            <a:ext cx="518438" cy="517746"/>
          </a:xfrm>
          <a:prstGeom prst="rect">
            <a:avLst/>
          </a:prstGeom>
        </p:spPr>
      </p:pic>
      <p:grpSp>
        <p:nvGrpSpPr>
          <p:cNvPr id="12" name="组合 11">
            <a:extLst>
              <a:ext uri="{FF2B5EF4-FFF2-40B4-BE49-F238E27FC236}">
                <a16:creationId xmlns:a16="http://schemas.microsoft.com/office/drawing/2014/main" id="{674B6AB3-6667-4160-BBC2-B615A14AD9A3}"/>
              </a:ext>
            </a:extLst>
          </p:cNvPr>
          <p:cNvGrpSpPr/>
          <p:nvPr/>
        </p:nvGrpSpPr>
        <p:grpSpPr>
          <a:xfrm rot="7437061" flipH="1">
            <a:off x="5743951" y="-1272848"/>
            <a:ext cx="4182609" cy="4724011"/>
            <a:chOff x="-706923" y="1096161"/>
            <a:chExt cx="4582628" cy="5524068"/>
          </a:xfrm>
        </p:grpSpPr>
        <p:pic>
          <p:nvPicPr>
            <p:cNvPr id="13" name="图片 12">
              <a:extLst>
                <a:ext uri="{FF2B5EF4-FFF2-40B4-BE49-F238E27FC236}">
                  <a16:creationId xmlns:a16="http://schemas.microsoft.com/office/drawing/2014/main" id="{3FB940FB-CCED-44C3-B3AF-42C59B68FD7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0583867">
              <a:off x="-706923" y="1096161"/>
              <a:ext cx="4582628" cy="4954232"/>
            </a:xfrm>
            <a:prstGeom prst="rect">
              <a:avLst/>
            </a:prstGeom>
          </p:spPr>
        </p:pic>
        <p:pic>
          <p:nvPicPr>
            <p:cNvPr id="14" name="图片 13">
              <a:extLst>
                <a:ext uri="{FF2B5EF4-FFF2-40B4-BE49-F238E27FC236}">
                  <a16:creationId xmlns:a16="http://schemas.microsoft.com/office/drawing/2014/main" id="{A7975ACD-5AEB-4E69-A555-3F53236A67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2527865">
              <a:off x="294844" y="4137621"/>
              <a:ext cx="2482608" cy="2482608"/>
            </a:xfrm>
            <a:prstGeom prst="rect">
              <a:avLst/>
            </a:prstGeom>
          </p:spPr>
        </p:pic>
      </p:grpSp>
      <p:grpSp>
        <p:nvGrpSpPr>
          <p:cNvPr id="5" name="组合 4">
            <a:extLst>
              <a:ext uri="{FF2B5EF4-FFF2-40B4-BE49-F238E27FC236}">
                <a16:creationId xmlns:a16="http://schemas.microsoft.com/office/drawing/2014/main" id="{FDCC8BB6-9311-48BE-9888-4E9EDAB7F108}"/>
              </a:ext>
            </a:extLst>
          </p:cNvPr>
          <p:cNvGrpSpPr/>
          <p:nvPr/>
        </p:nvGrpSpPr>
        <p:grpSpPr>
          <a:xfrm rot="18232305" flipH="1">
            <a:off x="-729307" y="1750390"/>
            <a:ext cx="4182609" cy="4724011"/>
            <a:chOff x="-706923" y="1096161"/>
            <a:chExt cx="4582628" cy="5524068"/>
          </a:xfrm>
        </p:grpSpPr>
        <p:pic>
          <p:nvPicPr>
            <p:cNvPr id="2" name="图片 1">
              <a:extLst>
                <a:ext uri="{FF2B5EF4-FFF2-40B4-BE49-F238E27FC236}">
                  <a16:creationId xmlns:a16="http://schemas.microsoft.com/office/drawing/2014/main" id="{AB106E60-5492-4D6B-A8C7-5DA5381FF7A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0583867">
              <a:off x="-706923" y="1096161"/>
              <a:ext cx="4582628" cy="4954232"/>
            </a:xfrm>
            <a:prstGeom prst="rect">
              <a:avLst/>
            </a:prstGeom>
          </p:spPr>
        </p:pic>
        <p:pic>
          <p:nvPicPr>
            <p:cNvPr id="4" name="图片 3">
              <a:extLst>
                <a:ext uri="{FF2B5EF4-FFF2-40B4-BE49-F238E27FC236}">
                  <a16:creationId xmlns:a16="http://schemas.microsoft.com/office/drawing/2014/main" id="{81D864D2-A313-4D3F-A2A7-936D5C6CF4E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2527865">
              <a:off x="294844" y="4137621"/>
              <a:ext cx="2482608" cy="2482608"/>
            </a:xfrm>
            <a:prstGeom prst="rect">
              <a:avLst/>
            </a:prstGeom>
          </p:spPr>
        </p:pic>
      </p:grpSp>
      <p:sp>
        <p:nvSpPr>
          <p:cNvPr id="16" name="文本框 15">
            <a:extLst>
              <a:ext uri="{FF2B5EF4-FFF2-40B4-BE49-F238E27FC236}">
                <a16:creationId xmlns:a16="http://schemas.microsoft.com/office/drawing/2014/main" id="{CB707873-5F81-42D7-9483-AC941425CEBA}"/>
              </a:ext>
            </a:extLst>
          </p:cNvPr>
          <p:cNvSpPr txBox="1"/>
          <p:nvPr/>
        </p:nvSpPr>
        <p:spPr>
          <a:xfrm>
            <a:off x="2832772" y="1566594"/>
            <a:ext cx="3478456" cy="1015663"/>
          </a:xfrm>
          <a:prstGeom prst="rect">
            <a:avLst/>
          </a:prstGeom>
          <a:noFill/>
        </p:spPr>
        <p:txBody>
          <a:bodyPr wrap="square" rtlCol="0">
            <a:spAutoFit/>
          </a:bodyPr>
          <a:lstStyle/>
          <a:p>
            <a:r>
              <a:rPr lang="zh-CN" altLang="en-US" sz="6000" b="1" dirty="0">
                <a:ea typeface="演示秋鸿楷" panose="00000500000000000000" pitchFamily="2" charset="-122"/>
              </a:rPr>
              <a:t>演示文稿</a:t>
            </a:r>
          </a:p>
        </p:txBody>
      </p:sp>
      <p:sp>
        <p:nvSpPr>
          <p:cNvPr id="18" name="文本框 17">
            <a:extLst>
              <a:ext uri="{FF2B5EF4-FFF2-40B4-BE49-F238E27FC236}">
                <a16:creationId xmlns:a16="http://schemas.microsoft.com/office/drawing/2014/main" id="{3EEB9B01-5BF3-4D33-BF8F-7F257F0178BE}"/>
              </a:ext>
            </a:extLst>
          </p:cNvPr>
          <p:cNvSpPr txBox="1"/>
          <p:nvPr/>
        </p:nvSpPr>
        <p:spPr>
          <a:xfrm>
            <a:off x="4932040" y="2950922"/>
            <a:ext cx="2258952" cy="369332"/>
          </a:xfrm>
          <a:prstGeom prst="rect">
            <a:avLst/>
          </a:prstGeom>
          <a:noFill/>
        </p:spPr>
        <p:txBody>
          <a:bodyPr wrap="none" rtlCol="0">
            <a:spAutoFit/>
          </a:bodyPr>
          <a:lstStyle/>
          <a:p>
            <a:r>
              <a:rPr lang="zh-CN" altLang="en-US" b="1" dirty="0">
                <a:latin typeface="演示秋鸿楷" panose="00000500000000000000" pitchFamily="2" charset="-122"/>
                <a:ea typeface="演示秋鸿楷" panose="00000500000000000000" pitchFamily="2" charset="-122"/>
              </a:rPr>
              <a:t>姓名：          学号：</a:t>
            </a:r>
          </a:p>
        </p:txBody>
      </p:sp>
      <p:pic>
        <p:nvPicPr>
          <p:cNvPr id="19" name="图片 18">
            <a:extLst>
              <a:ext uri="{FF2B5EF4-FFF2-40B4-BE49-F238E27FC236}">
                <a16:creationId xmlns:a16="http://schemas.microsoft.com/office/drawing/2014/main" id="{ECC6DBA9-A84E-439C-A357-CBFAEE61C4B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16216" y="3976598"/>
            <a:ext cx="2317992" cy="956762"/>
          </a:xfrm>
          <a:prstGeom prst="rect">
            <a:avLst/>
          </a:prstGeom>
        </p:spPr>
      </p:pic>
    </p:spTree>
    <p:extLst>
      <p:ext uri="{BB962C8B-B14F-4D97-AF65-F5344CB8AC3E}">
        <p14:creationId xmlns:p14="http://schemas.microsoft.com/office/powerpoint/2010/main" val="30593681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id="{2C1061F1-14C4-4046-9847-04E38F5B036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21931">
            <a:off x="4654771" y="716021"/>
            <a:ext cx="1856564" cy="1856564"/>
          </a:xfrm>
          <a:prstGeom prst="rect">
            <a:avLst/>
          </a:prstGeom>
        </p:spPr>
      </p:pic>
      <p:pic>
        <p:nvPicPr>
          <p:cNvPr id="10" name="图片 9">
            <a:extLst>
              <a:ext uri="{FF2B5EF4-FFF2-40B4-BE49-F238E27FC236}">
                <a16:creationId xmlns:a16="http://schemas.microsoft.com/office/drawing/2014/main" id="{413F2EC5-667A-4ADA-B046-3F6681984B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513651" y="87371"/>
            <a:ext cx="1922208" cy="2061520"/>
          </a:xfrm>
          <a:prstGeom prst="rect">
            <a:avLst/>
          </a:prstGeom>
        </p:spPr>
      </p:pic>
      <p:sp>
        <p:nvSpPr>
          <p:cNvPr id="5" name="文本框 4"/>
          <p:cNvSpPr txBox="1"/>
          <p:nvPr/>
        </p:nvSpPr>
        <p:spPr>
          <a:xfrm>
            <a:off x="3748696" y="871540"/>
            <a:ext cx="1646605" cy="1569660"/>
          </a:xfrm>
          <a:prstGeom prst="rect">
            <a:avLst/>
          </a:prstGeom>
          <a:noFill/>
        </p:spPr>
        <p:txBody>
          <a:bodyPr wrap="none" rtlCol="0">
            <a:spAutoFit/>
          </a:bodyPr>
          <a:lstStyle/>
          <a:p>
            <a:r>
              <a:rPr lang="en-US" altLang="zh-CN" sz="9600" dirty="0">
                <a:solidFill>
                  <a:srgbClr val="769B37"/>
                </a:solidFill>
                <a:latin typeface="Arial Rounded MT Bold" panose="020F0704030504030204" pitchFamily="34" charset="0"/>
                <a:ea typeface="Ohka" panose="02000609000000000000" pitchFamily="49" charset="-128"/>
                <a:cs typeface="Aharoni" panose="02010803020104030203" pitchFamily="2" charset="-79"/>
              </a:rPr>
              <a:t>03</a:t>
            </a:r>
            <a:endParaRPr lang="zh-CN" altLang="en-US" sz="9600" dirty="0">
              <a:solidFill>
                <a:srgbClr val="769B37"/>
              </a:solidFill>
              <a:latin typeface="Arial Rounded MT Bold" panose="020F0704030504030204" pitchFamily="34" charset="0"/>
              <a:ea typeface="Ohka" panose="02000609000000000000" pitchFamily="49" charset="-128"/>
              <a:cs typeface="Aharoni" panose="02010803020104030203" pitchFamily="2" charset="-79"/>
            </a:endParaRPr>
          </a:p>
        </p:txBody>
      </p:sp>
      <p:sp>
        <p:nvSpPr>
          <p:cNvPr id="8" name="文本框 7">
            <a:extLst>
              <a:ext uri="{FF2B5EF4-FFF2-40B4-BE49-F238E27FC236}">
                <a16:creationId xmlns:a16="http://schemas.microsoft.com/office/drawing/2014/main" id="{4D49E2FC-20EC-432F-A467-2AF6DACB3C81}"/>
              </a:ext>
            </a:extLst>
          </p:cNvPr>
          <p:cNvSpPr txBox="1"/>
          <p:nvPr/>
        </p:nvSpPr>
        <p:spPr>
          <a:xfrm>
            <a:off x="3811633" y="2254033"/>
            <a:ext cx="1826141" cy="523220"/>
          </a:xfrm>
          <a:prstGeom prst="rect">
            <a:avLst/>
          </a:prstGeom>
          <a:noFill/>
        </p:spPr>
        <p:txBody>
          <a:bodyPr wrap="square" rtlCol="0">
            <a:spAutoFit/>
          </a:bodyPr>
          <a:lstStyle/>
          <a:p>
            <a:r>
              <a:rPr lang="zh-CN" altLang="en-US" sz="2800" dirty="0">
                <a:latin typeface="微软雅黑" panose="020B0503020204020204" pitchFamily="34" charset="-122"/>
                <a:ea typeface="微软雅黑" panose="020B0503020204020204" pitchFamily="34" charset="-122"/>
              </a:rPr>
              <a:t>第三部分</a:t>
            </a:r>
          </a:p>
        </p:txBody>
      </p:sp>
      <p:pic>
        <p:nvPicPr>
          <p:cNvPr id="7" name="图片 6">
            <a:extLst>
              <a:ext uri="{FF2B5EF4-FFF2-40B4-BE49-F238E27FC236}">
                <a16:creationId xmlns:a16="http://schemas.microsoft.com/office/drawing/2014/main" id="{C1F7DA30-CDD6-4056-8947-88CBB19CAB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07606" y="3233598"/>
            <a:ext cx="2528788" cy="1586580"/>
          </a:xfrm>
          <a:prstGeom prst="rect">
            <a:avLst/>
          </a:prstGeom>
        </p:spPr>
      </p:pic>
    </p:spTree>
    <p:extLst>
      <p:ext uri="{BB962C8B-B14F-4D97-AF65-F5344CB8AC3E}">
        <p14:creationId xmlns:p14="http://schemas.microsoft.com/office/powerpoint/2010/main" val="3427677577"/>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70B0C920-8D16-4880-B355-A2FF0019DA1A}"/>
              </a:ext>
            </a:extLst>
          </p:cNvPr>
          <p:cNvGrpSpPr/>
          <p:nvPr/>
        </p:nvGrpSpPr>
        <p:grpSpPr>
          <a:xfrm>
            <a:off x="-36512" y="1170511"/>
            <a:ext cx="9395139" cy="3694272"/>
            <a:chOff x="-22870" y="1428830"/>
            <a:chExt cx="9395139" cy="3694272"/>
          </a:xfrm>
        </p:grpSpPr>
        <p:sp>
          <p:nvSpPr>
            <p:cNvPr id="31" name="Freeform 14"/>
            <p:cNvSpPr>
              <a:spLocks/>
            </p:cNvSpPr>
            <p:nvPr/>
          </p:nvSpPr>
          <p:spPr bwMode="auto">
            <a:xfrm rot="13500000">
              <a:off x="2742255" y="2172664"/>
              <a:ext cx="919914" cy="1531358"/>
            </a:xfrm>
            <a:custGeom>
              <a:avLst/>
              <a:gdLst>
                <a:gd name="T0" fmla="*/ 329 w 486"/>
                <a:gd name="T1" fmla="*/ 0 h 799"/>
                <a:gd name="T2" fmla="*/ 378 w 486"/>
                <a:gd name="T3" fmla="*/ 1 h 799"/>
                <a:gd name="T4" fmla="*/ 430 w 486"/>
                <a:gd name="T5" fmla="*/ 7 h 799"/>
                <a:gd name="T6" fmla="*/ 486 w 486"/>
                <a:gd name="T7" fmla="*/ 19 h 799"/>
                <a:gd name="T8" fmla="*/ 483 w 486"/>
                <a:gd name="T9" fmla="*/ 30 h 799"/>
                <a:gd name="T10" fmla="*/ 428 w 486"/>
                <a:gd name="T11" fmla="*/ 19 h 799"/>
                <a:gd name="T12" fmla="*/ 376 w 486"/>
                <a:gd name="T13" fmla="*/ 13 h 799"/>
                <a:gd name="T14" fmla="*/ 329 w 486"/>
                <a:gd name="T15" fmla="*/ 12 h 799"/>
                <a:gd name="T16" fmla="*/ 278 w 486"/>
                <a:gd name="T17" fmla="*/ 15 h 799"/>
                <a:gd name="T18" fmla="*/ 231 w 486"/>
                <a:gd name="T19" fmla="*/ 22 h 799"/>
                <a:gd name="T20" fmla="*/ 191 w 486"/>
                <a:gd name="T21" fmla="*/ 36 h 799"/>
                <a:gd name="T22" fmla="*/ 153 w 486"/>
                <a:gd name="T23" fmla="*/ 53 h 799"/>
                <a:gd name="T24" fmla="*/ 122 w 486"/>
                <a:gd name="T25" fmla="*/ 74 h 799"/>
                <a:gd name="T26" fmla="*/ 94 w 486"/>
                <a:gd name="T27" fmla="*/ 101 h 799"/>
                <a:gd name="T28" fmla="*/ 72 w 486"/>
                <a:gd name="T29" fmla="*/ 129 h 799"/>
                <a:gd name="T30" fmla="*/ 52 w 486"/>
                <a:gd name="T31" fmla="*/ 162 h 799"/>
                <a:gd name="T32" fmla="*/ 38 w 486"/>
                <a:gd name="T33" fmla="*/ 198 h 799"/>
                <a:gd name="T34" fmla="*/ 27 w 486"/>
                <a:gd name="T35" fmla="*/ 235 h 799"/>
                <a:gd name="T36" fmla="*/ 18 w 486"/>
                <a:gd name="T37" fmla="*/ 275 h 799"/>
                <a:gd name="T38" fmla="*/ 14 w 486"/>
                <a:gd name="T39" fmla="*/ 317 h 799"/>
                <a:gd name="T40" fmla="*/ 12 w 486"/>
                <a:gd name="T41" fmla="*/ 361 h 799"/>
                <a:gd name="T42" fmla="*/ 17 w 486"/>
                <a:gd name="T43" fmla="*/ 434 h 799"/>
                <a:gd name="T44" fmla="*/ 27 w 486"/>
                <a:gd name="T45" fmla="*/ 510 h 799"/>
                <a:gd name="T46" fmla="*/ 45 w 486"/>
                <a:gd name="T47" fmla="*/ 584 h 799"/>
                <a:gd name="T48" fmla="*/ 67 w 486"/>
                <a:gd name="T49" fmla="*/ 657 h 799"/>
                <a:gd name="T50" fmla="*/ 95 w 486"/>
                <a:gd name="T51" fmla="*/ 727 h 799"/>
                <a:gd name="T52" fmla="*/ 127 w 486"/>
                <a:gd name="T53" fmla="*/ 793 h 799"/>
                <a:gd name="T54" fmla="*/ 127 w 486"/>
                <a:gd name="T55" fmla="*/ 793 h 799"/>
                <a:gd name="T56" fmla="*/ 115 w 486"/>
                <a:gd name="T57" fmla="*/ 799 h 799"/>
                <a:gd name="T58" fmla="*/ 84 w 486"/>
                <a:gd name="T59" fmla="*/ 733 h 799"/>
                <a:gd name="T60" fmla="*/ 55 w 486"/>
                <a:gd name="T61" fmla="*/ 662 h 799"/>
                <a:gd name="T62" fmla="*/ 33 w 486"/>
                <a:gd name="T63" fmla="*/ 587 h 799"/>
                <a:gd name="T64" fmla="*/ 15 w 486"/>
                <a:gd name="T65" fmla="*/ 512 h 799"/>
                <a:gd name="T66" fmla="*/ 5 w 486"/>
                <a:gd name="T67" fmla="*/ 436 h 799"/>
                <a:gd name="T68" fmla="*/ 0 w 486"/>
                <a:gd name="T69" fmla="*/ 361 h 799"/>
                <a:gd name="T70" fmla="*/ 2 w 486"/>
                <a:gd name="T71" fmla="*/ 312 h 799"/>
                <a:gd name="T72" fmla="*/ 8 w 486"/>
                <a:gd name="T73" fmla="*/ 266 h 799"/>
                <a:gd name="T74" fmla="*/ 17 w 486"/>
                <a:gd name="T75" fmla="*/ 222 h 799"/>
                <a:gd name="T76" fmla="*/ 32 w 486"/>
                <a:gd name="T77" fmla="*/ 180 h 799"/>
                <a:gd name="T78" fmla="*/ 49 w 486"/>
                <a:gd name="T79" fmla="*/ 143 h 799"/>
                <a:gd name="T80" fmla="*/ 73 w 486"/>
                <a:gd name="T81" fmla="*/ 107 h 799"/>
                <a:gd name="T82" fmla="*/ 97 w 486"/>
                <a:gd name="T83" fmla="*/ 80 h 799"/>
                <a:gd name="T84" fmla="*/ 125 w 486"/>
                <a:gd name="T85" fmla="*/ 56 h 799"/>
                <a:gd name="T86" fmla="*/ 158 w 486"/>
                <a:gd name="T87" fmla="*/ 37 h 799"/>
                <a:gd name="T88" fmla="*/ 194 w 486"/>
                <a:gd name="T89" fmla="*/ 21 h 799"/>
                <a:gd name="T90" fmla="*/ 235 w 486"/>
                <a:gd name="T91" fmla="*/ 9 h 799"/>
                <a:gd name="T92" fmla="*/ 280 w 486"/>
                <a:gd name="T93" fmla="*/ 1 h 799"/>
                <a:gd name="T94" fmla="*/ 329 w 486"/>
                <a:gd name="T95" fmla="*/ 0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6" h="799">
                  <a:moveTo>
                    <a:pt x="329" y="0"/>
                  </a:moveTo>
                  <a:lnTo>
                    <a:pt x="378" y="1"/>
                  </a:lnTo>
                  <a:lnTo>
                    <a:pt x="430" y="7"/>
                  </a:lnTo>
                  <a:lnTo>
                    <a:pt x="486" y="19"/>
                  </a:lnTo>
                  <a:lnTo>
                    <a:pt x="483" y="30"/>
                  </a:lnTo>
                  <a:lnTo>
                    <a:pt x="428" y="19"/>
                  </a:lnTo>
                  <a:lnTo>
                    <a:pt x="376" y="13"/>
                  </a:lnTo>
                  <a:lnTo>
                    <a:pt x="329" y="12"/>
                  </a:lnTo>
                  <a:lnTo>
                    <a:pt x="278" y="15"/>
                  </a:lnTo>
                  <a:lnTo>
                    <a:pt x="231" y="22"/>
                  </a:lnTo>
                  <a:lnTo>
                    <a:pt x="191" y="36"/>
                  </a:lnTo>
                  <a:lnTo>
                    <a:pt x="153" y="53"/>
                  </a:lnTo>
                  <a:lnTo>
                    <a:pt x="122" y="74"/>
                  </a:lnTo>
                  <a:lnTo>
                    <a:pt x="94" y="101"/>
                  </a:lnTo>
                  <a:lnTo>
                    <a:pt x="72" y="129"/>
                  </a:lnTo>
                  <a:lnTo>
                    <a:pt x="52" y="162"/>
                  </a:lnTo>
                  <a:lnTo>
                    <a:pt x="38" y="198"/>
                  </a:lnTo>
                  <a:lnTo>
                    <a:pt x="27" y="235"/>
                  </a:lnTo>
                  <a:lnTo>
                    <a:pt x="18" y="275"/>
                  </a:lnTo>
                  <a:lnTo>
                    <a:pt x="14" y="317"/>
                  </a:lnTo>
                  <a:lnTo>
                    <a:pt x="12" y="361"/>
                  </a:lnTo>
                  <a:lnTo>
                    <a:pt x="17" y="434"/>
                  </a:lnTo>
                  <a:lnTo>
                    <a:pt x="27" y="510"/>
                  </a:lnTo>
                  <a:lnTo>
                    <a:pt x="45" y="584"/>
                  </a:lnTo>
                  <a:lnTo>
                    <a:pt x="67" y="657"/>
                  </a:lnTo>
                  <a:lnTo>
                    <a:pt x="95" y="727"/>
                  </a:lnTo>
                  <a:lnTo>
                    <a:pt x="127" y="793"/>
                  </a:lnTo>
                  <a:lnTo>
                    <a:pt x="127" y="793"/>
                  </a:lnTo>
                  <a:lnTo>
                    <a:pt x="115" y="799"/>
                  </a:lnTo>
                  <a:lnTo>
                    <a:pt x="84" y="733"/>
                  </a:lnTo>
                  <a:lnTo>
                    <a:pt x="55" y="662"/>
                  </a:lnTo>
                  <a:lnTo>
                    <a:pt x="33" y="587"/>
                  </a:lnTo>
                  <a:lnTo>
                    <a:pt x="15" y="512"/>
                  </a:lnTo>
                  <a:lnTo>
                    <a:pt x="5" y="436"/>
                  </a:lnTo>
                  <a:lnTo>
                    <a:pt x="0" y="361"/>
                  </a:lnTo>
                  <a:lnTo>
                    <a:pt x="2" y="312"/>
                  </a:lnTo>
                  <a:lnTo>
                    <a:pt x="8" y="266"/>
                  </a:lnTo>
                  <a:lnTo>
                    <a:pt x="17" y="222"/>
                  </a:lnTo>
                  <a:lnTo>
                    <a:pt x="32" y="180"/>
                  </a:lnTo>
                  <a:lnTo>
                    <a:pt x="49" y="143"/>
                  </a:lnTo>
                  <a:lnTo>
                    <a:pt x="73" y="107"/>
                  </a:lnTo>
                  <a:lnTo>
                    <a:pt x="97" y="80"/>
                  </a:lnTo>
                  <a:lnTo>
                    <a:pt x="125" y="56"/>
                  </a:lnTo>
                  <a:lnTo>
                    <a:pt x="158" y="37"/>
                  </a:lnTo>
                  <a:lnTo>
                    <a:pt x="194" y="21"/>
                  </a:lnTo>
                  <a:lnTo>
                    <a:pt x="235" y="9"/>
                  </a:lnTo>
                  <a:lnTo>
                    <a:pt x="280" y="1"/>
                  </a:lnTo>
                  <a:lnTo>
                    <a:pt x="329"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33" name="Freeform 13"/>
            <p:cNvSpPr>
              <a:spLocks/>
            </p:cNvSpPr>
            <p:nvPr/>
          </p:nvSpPr>
          <p:spPr bwMode="auto">
            <a:xfrm>
              <a:off x="5547486" y="3084248"/>
              <a:ext cx="1361105" cy="346388"/>
            </a:xfrm>
            <a:custGeom>
              <a:avLst/>
              <a:gdLst>
                <a:gd name="T0" fmla="*/ 461 w 962"/>
                <a:gd name="T1" fmla="*/ 0 h 183"/>
                <a:gd name="T2" fmla="*/ 531 w 962"/>
                <a:gd name="T3" fmla="*/ 3 h 183"/>
                <a:gd name="T4" fmla="*/ 601 w 962"/>
                <a:gd name="T5" fmla="*/ 12 h 183"/>
                <a:gd name="T6" fmla="*/ 672 w 962"/>
                <a:gd name="T7" fmla="*/ 28 h 183"/>
                <a:gd name="T8" fmla="*/ 745 w 962"/>
                <a:gd name="T9" fmla="*/ 52 h 183"/>
                <a:gd name="T10" fmla="*/ 818 w 962"/>
                <a:gd name="T11" fmla="*/ 83 h 183"/>
                <a:gd name="T12" fmla="*/ 889 w 962"/>
                <a:gd name="T13" fmla="*/ 124 h 183"/>
                <a:gd name="T14" fmla="*/ 962 w 962"/>
                <a:gd name="T15" fmla="*/ 173 h 183"/>
                <a:gd name="T16" fmla="*/ 954 w 962"/>
                <a:gd name="T17" fmla="*/ 183 h 183"/>
                <a:gd name="T18" fmla="*/ 883 w 962"/>
                <a:gd name="T19" fmla="*/ 134 h 183"/>
                <a:gd name="T20" fmla="*/ 812 w 962"/>
                <a:gd name="T21" fmla="*/ 95 h 183"/>
                <a:gd name="T22" fmla="*/ 740 w 962"/>
                <a:gd name="T23" fmla="*/ 64 h 183"/>
                <a:gd name="T24" fmla="*/ 669 w 962"/>
                <a:gd name="T25" fmla="*/ 40 h 183"/>
                <a:gd name="T26" fmla="*/ 599 w 962"/>
                <a:gd name="T27" fmla="*/ 24 h 183"/>
                <a:gd name="T28" fmla="*/ 529 w 962"/>
                <a:gd name="T29" fmla="*/ 15 h 183"/>
                <a:gd name="T30" fmla="*/ 461 w 962"/>
                <a:gd name="T31" fmla="*/ 12 h 183"/>
                <a:gd name="T32" fmla="*/ 387 w 962"/>
                <a:gd name="T33" fmla="*/ 15 h 183"/>
                <a:gd name="T34" fmla="*/ 314 w 962"/>
                <a:gd name="T35" fmla="*/ 25 h 183"/>
                <a:gd name="T36" fmla="*/ 246 w 962"/>
                <a:gd name="T37" fmla="*/ 42 h 183"/>
                <a:gd name="T38" fmla="*/ 180 w 962"/>
                <a:gd name="T39" fmla="*/ 64 h 183"/>
                <a:gd name="T40" fmla="*/ 118 w 962"/>
                <a:gd name="T41" fmla="*/ 91 h 183"/>
                <a:gd name="T42" fmla="*/ 60 w 962"/>
                <a:gd name="T43" fmla="*/ 121 h 183"/>
                <a:gd name="T44" fmla="*/ 8 w 962"/>
                <a:gd name="T45" fmla="*/ 155 h 183"/>
                <a:gd name="T46" fmla="*/ 8 w 962"/>
                <a:gd name="T47" fmla="*/ 155 h 183"/>
                <a:gd name="T48" fmla="*/ 0 w 962"/>
                <a:gd name="T49" fmla="*/ 144 h 183"/>
                <a:gd name="T50" fmla="*/ 54 w 962"/>
                <a:gd name="T51" fmla="*/ 110 h 183"/>
                <a:gd name="T52" fmla="*/ 112 w 962"/>
                <a:gd name="T53" fmla="*/ 79 h 183"/>
                <a:gd name="T54" fmla="*/ 176 w 962"/>
                <a:gd name="T55" fmla="*/ 52 h 183"/>
                <a:gd name="T56" fmla="*/ 243 w 962"/>
                <a:gd name="T57" fmla="*/ 30 h 183"/>
                <a:gd name="T58" fmla="*/ 312 w 962"/>
                <a:gd name="T59" fmla="*/ 14 h 183"/>
                <a:gd name="T60" fmla="*/ 385 w 962"/>
                <a:gd name="T61" fmla="*/ 3 h 183"/>
                <a:gd name="T62" fmla="*/ 461 w 962"/>
                <a:gd name="T6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2" h="183">
                  <a:moveTo>
                    <a:pt x="461" y="0"/>
                  </a:moveTo>
                  <a:lnTo>
                    <a:pt x="531" y="3"/>
                  </a:lnTo>
                  <a:lnTo>
                    <a:pt x="601" y="12"/>
                  </a:lnTo>
                  <a:lnTo>
                    <a:pt x="672" y="28"/>
                  </a:lnTo>
                  <a:lnTo>
                    <a:pt x="745" y="52"/>
                  </a:lnTo>
                  <a:lnTo>
                    <a:pt x="818" y="83"/>
                  </a:lnTo>
                  <a:lnTo>
                    <a:pt x="889" y="124"/>
                  </a:lnTo>
                  <a:lnTo>
                    <a:pt x="962" y="173"/>
                  </a:lnTo>
                  <a:lnTo>
                    <a:pt x="954" y="183"/>
                  </a:lnTo>
                  <a:lnTo>
                    <a:pt x="883" y="134"/>
                  </a:lnTo>
                  <a:lnTo>
                    <a:pt x="812" y="95"/>
                  </a:lnTo>
                  <a:lnTo>
                    <a:pt x="740" y="64"/>
                  </a:lnTo>
                  <a:lnTo>
                    <a:pt x="669" y="40"/>
                  </a:lnTo>
                  <a:lnTo>
                    <a:pt x="599" y="24"/>
                  </a:lnTo>
                  <a:lnTo>
                    <a:pt x="529" y="15"/>
                  </a:lnTo>
                  <a:lnTo>
                    <a:pt x="461" y="12"/>
                  </a:lnTo>
                  <a:lnTo>
                    <a:pt x="387" y="15"/>
                  </a:lnTo>
                  <a:lnTo>
                    <a:pt x="314" y="25"/>
                  </a:lnTo>
                  <a:lnTo>
                    <a:pt x="246" y="42"/>
                  </a:lnTo>
                  <a:lnTo>
                    <a:pt x="180" y="64"/>
                  </a:lnTo>
                  <a:lnTo>
                    <a:pt x="118" y="91"/>
                  </a:lnTo>
                  <a:lnTo>
                    <a:pt x="60" y="121"/>
                  </a:lnTo>
                  <a:lnTo>
                    <a:pt x="8" y="155"/>
                  </a:lnTo>
                  <a:lnTo>
                    <a:pt x="8" y="155"/>
                  </a:lnTo>
                  <a:lnTo>
                    <a:pt x="0" y="144"/>
                  </a:lnTo>
                  <a:lnTo>
                    <a:pt x="54" y="110"/>
                  </a:lnTo>
                  <a:lnTo>
                    <a:pt x="112" y="79"/>
                  </a:lnTo>
                  <a:lnTo>
                    <a:pt x="176" y="52"/>
                  </a:lnTo>
                  <a:lnTo>
                    <a:pt x="243" y="30"/>
                  </a:lnTo>
                  <a:lnTo>
                    <a:pt x="312" y="14"/>
                  </a:lnTo>
                  <a:lnTo>
                    <a:pt x="385" y="3"/>
                  </a:lnTo>
                  <a:lnTo>
                    <a:pt x="461"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nvGrpSpPr>
            <p:cNvPr id="3" name="组合 2">
              <a:extLst>
                <a:ext uri="{FF2B5EF4-FFF2-40B4-BE49-F238E27FC236}">
                  <a16:creationId xmlns:a16="http://schemas.microsoft.com/office/drawing/2014/main" id="{046B7035-7B7B-4933-A6B3-84F5D8738320}"/>
                </a:ext>
              </a:extLst>
            </p:cNvPr>
            <p:cNvGrpSpPr/>
            <p:nvPr/>
          </p:nvGrpSpPr>
          <p:grpSpPr>
            <a:xfrm>
              <a:off x="-22870" y="1428830"/>
              <a:ext cx="9395139" cy="3694272"/>
              <a:chOff x="-22870" y="1428830"/>
              <a:chExt cx="9395139" cy="3694272"/>
            </a:xfrm>
          </p:grpSpPr>
          <p:grpSp>
            <p:nvGrpSpPr>
              <p:cNvPr id="62" name="Group 17"/>
              <p:cNvGrpSpPr/>
              <p:nvPr/>
            </p:nvGrpSpPr>
            <p:grpSpPr>
              <a:xfrm>
                <a:off x="6444316" y="1428830"/>
                <a:ext cx="473092" cy="464935"/>
                <a:chOff x="6365383" y="987574"/>
                <a:chExt cx="467298" cy="465007"/>
              </a:xfrm>
            </p:grpSpPr>
            <p:sp>
              <p:nvSpPr>
                <p:cNvPr id="63" name="Freeform 10"/>
                <p:cNvSpPr>
                  <a:spLocks/>
                </p:cNvSpPr>
                <p:nvPr/>
              </p:nvSpPr>
              <p:spPr bwMode="auto">
                <a:xfrm>
                  <a:off x="6365383" y="987574"/>
                  <a:ext cx="467298" cy="465007"/>
                </a:xfrm>
                <a:custGeom>
                  <a:avLst/>
                  <a:gdLst>
                    <a:gd name="T0" fmla="*/ 101 w 204"/>
                    <a:gd name="T1" fmla="*/ 0 h 203"/>
                    <a:gd name="T2" fmla="*/ 130 w 204"/>
                    <a:gd name="T3" fmla="*/ 3 h 203"/>
                    <a:gd name="T4" fmla="*/ 153 w 204"/>
                    <a:gd name="T5" fmla="*/ 13 h 203"/>
                    <a:gd name="T6" fmla="*/ 174 w 204"/>
                    <a:gd name="T7" fmla="*/ 29 h 203"/>
                    <a:gd name="T8" fmla="*/ 191 w 204"/>
                    <a:gd name="T9" fmla="*/ 50 h 203"/>
                    <a:gd name="T10" fmla="*/ 201 w 204"/>
                    <a:gd name="T11" fmla="*/ 74 h 203"/>
                    <a:gd name="T12" fmla="*/ 204 w 204"/>
                    <a:gd name="T13" fmla="*/ 102 h 203"/>
                    <a:gd name="T14" fmla="*/ 201 w 204"/>
                    <a:gd name="T15" fmla="*/ 129 h 203"/>
                    <a:gd name="T16" fmla="*/ 191 w 204"/>
                    <a:gd name="T17" fmla="*/ 153 h 203"/>
                    <a:gd name="T18" fmla="*/ 174 w 204"/>
                    <a:gd name="T19" fmla="*/ 174 h 203"/>
                    <a:gd name="T20" fmla="*/ 153 w 204"/>
                    <a:gd name="T21" fmla="*/ 190 h 203"/>
                    <a:gd name="T22" fmla="*/ 130 w 204"/>
                    <a:gd name="T23" fmla="*/ 200 h 203"/>
                    <a:gd name="T24" fmla="*/ 101 w 204"/>
                    <a:gd name="T25" fmla="*/ 203 h 203"/>
                    <a:gd name="T26" fmla="*/ 75 w 204"/>
                    <a:gd name="T27" fmla="*/ 200 h 203"/>
                    <a:gd name="T28" fmla="*/ 51 w 204"/>
                    <a:gd name="T29" fmla="*/ 190 h 203"/>
                    <a:gd name="T30" fmla="*/ 30 w 204"/>
                    <a:gd name="T31" fmla="*/ 174 h 203"/>
                    <a:gd name="T32" fmla="*/ 14 w 204"/>
                    <a:gd name="T33" fmla="*/ 153 h 203"/>
                    <a:gd name="T34" fmla="*/ 3 w 204"/>
                    <a:gd name="T35" fmla="*/ 129 h 203"/>
                    <a:gd name="T36" fmla="*/ 0 w 204"/>
                    <a:gd name="T37" fmla="*/ 102 h 203"/>
                    <a:gd name="T38" fmla="*/ 3 w 204"/>
                    <a:gd name="T39" fmla="*/ 74 h 203"/>
                    <a:gd name="T40" fmla="*/ 14 w 204"/>
                    <a:gd name="T41" fmla="*/ 50 h 203"/>
                    <a:gd name="T42" fmla="*/ 30 w 204"/>
                    <a:gd name="T43" fmla="*/ 29 h 203"/>
                    <a:gd name="T44" fmla="*/ 51 w 204"/>
                    <a:gd name="T45" fmla="*/ 13 h 203"/>
                    <a:gd name="T46" fmla="*/ 75 w 204"/>
                    <a:gd name="T47" fmla="*/ 3 h 203"/>
                    <a:gd name="T48" fmla="*/ 101 w 204"/>
                    <a:gd name="T4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3">
                      <a:moveTo>
                        <a:pt x="101" y="0"/>
                      </a:moveTo>
                      <a:lnTo>
                        <a:pt x="130" y="3"/>
                      </a:lnTo>
                      <a:lnTo>
                        <a:pt x="153" y="13"/>
                      </a:lnTo>
                      <a:lnTo>
                        <a:pt x="174" y="29"/>
                      </a:lnTo>
                      <a:lnTo>
                        <a:pt x="191" y="50"/>
                      </a:lnTo>
                      <a:lnTo>
                        <a:pt x="201" y="74"/>
                      </a:lnTo>
                      <a:lnTo>
                        <a:pt x="204" y="102"/>
                      </a:lnTo>
                      <a:lnTo>
                        <a:pt x="201" y="129"/>
                      </a:lnTo>
                      <a:lnTo>
                        <a:pt x="191" y="153"/>
                      </a:lnTo>
                      <a:lnTo>
                        <a:pt x="174" y="174"/>
                      </a:lnTo>
                      <a:lnTo>
                        <a:pt x="153" y="190"/>
                      </a:lnTo>
                      <a:lnTo>
                        <a:pt x="130" y="200"/>
                      </a:lnTo>
                      <a:lnTo>
                        <a:pt x="101" y="203"/>
                      </a:lnTo>
                      <a:lnTo>
                        <a:pt x="75" y="200"/>
                      </a:lnTo>
                      <a:lnTo>
                        <a:pt x="51" y="190"/>
                      </a:lnTo>
                      <a:lnTo>
                        <a:pt x="30" y="174"/>
                      </a:lnTo>
                      <a:lnTo>
                        <a:pt x="14" y="153"/>
                      </a:lnTo>
                      <a:lnTo>
                        <a:pt x="3" y="129"/>
                      </a:lnTo>
                      <a:lnTo>
                        <a:pt x="0" y="102"/>
                      </a:lnTo>
                      <a:lnTo>
                        <a:pt x="3" y="74"/>
                      </a:lnTo>
                      <a:lnTo>
                        <a:pt x="14" y="50"/>
                      </a:lnTo>
                      <a:lnTo>
                        <a:pt x="30" y="29"/>
                      </a:lnTo>
                      <a:lnTo>
                        <a:pt x="51" y="13"/>
                      </a:lnTo>
                      <a:lnTo>
                        <a:pt x="75" y="3"/>
                      </a:lnTo>
                      <a:lnTo>
                        <a:pt x="101" y="0"/>
                      </a:lnTo>
                      <a:close/>
                    </a:path>
                  </a:pathLst>
                </a:custGeom>
                <a:solidFill>
                  <a:schemeClr val="tx2"/>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64" name="Freeform 9"/>
                <p:cNvSpPr>
                  <a:spLocks noEditPoints="1"/>
                </p:cNvSpPr>
                <p:nvPr/>
              </p:nvSpPr>
              <p:spPr bwMode="auto">
                <a:xfrm>
                  <a:off x="6458481" y="1121413"/>
                  <a:ext cx="263683" cy="197326"/>
                </a:xfrm>
                <a:custGeom>
                  <a:avLst/>
                  <a:gdLst>
                    <a:gd name="T0" fmla="*/ 302 w 302"/>
                    <a:gd name="T1" fmla="*/ 226 h 226"/>
                    <a:gd name="T2" fmla="*/ 0 w 302"/>
                    <a:gd name="T3" fmla="*/ 226 h 226"/>
                    <a:gd name="T4" fmla="*/ 0 w 302"/>
                    <a:gd name="T5" fmla="*/ 0 h 226"/>
                    <a:gd name="T6" fmla="*/ 17 w 302"/>
                    <a:gd name="T7" fmla="*/ 0 h 226"/>
                    <a:gd name="T8" fmla="*/ 17 w 302"/>
                    <a:gd name="T9" fmla="*/ 206 h 226"/>
                    <a:gd name="T10" fmla="*/ 302 w 302"/>
                    <a:gd name="T11" fmla="*/ 206 h 226"/>
                    <a:gd name="T12" fmla="*/ 302 w 302"/>
                    <a:gd name="T13" fmla="*/ 226 h 226"/>
                    <a:gd name="T14" fmla="*/ 282 w 302"/>
                    <a:gd name="T15" fmla="*/ 188 h 226"/>
                    <a:gd name="T16" fmla="*/ 37 w 302"/>
                    <a:gd name="T17" fmla="*/ 188 h 226"/>
                    <a:gd name="T18" fmla="*/ 37 w 302"/>
                    <a:gd name="T19" fmla="*/ 103 h 226"/>
                    <a:gd name="T20" fmla="*/ 103 w 302"/>
                    <a:gd name="T21" fmla="*/ 17 h 226"/>
                    <a:gd name="T22" fmla="*/ 189 w 302"/>
                    <a:gd name="T23" fmla="*/ 103 h 226"/>
                    <a:gd name="T24" fmla="*/ 245 w 302"/>
                    <a:gd name="T25" fmla="*/ 56 h 226"/>
                    <a:gd name="T26" fmla="*/ 282 w 302"/>
                    <a:gd name="T27" fmla="*/ 18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2" h="226">
                      <a:moveTo>
                        <a:pt x="302" y="226"/>
                      </a:moveTo>
                      <a:lnTo>
                        <a:pt x="0" y="226"/>
                      </a:lnTo>
                      <a:lnTo>
                        <a:pt x="0" y="0"/>
                      </a:lnTo>
                      <a:lnTo>
                        <a:pt x="17" y="0"/>
                      </a:lnTo>
                      <a:lnTo>
                        <a:pt x="17" y="206"/>
                      </a:lnTo>
                      <a:lnTo>
                        <a:pt x="302" y="206"/>
                      </a:lnTo>
                      <a:lnTo>
                        <a:pt x="302" y="226"/>
                      </a:lnTo>
                      <a:close/>
                      <a:moveTo>
                        <a:pt x="282" y="188"/>
                      </a:moveTo>
                      <a:lnTo>
                        <a:pt x="37" y="188"/>
                      </a:lnTo>
                      <a:lnTo>
                        <a:pt x="37" y="103"/>
                      </a:lnTo>
                      <a:lnTo>
                        <a:pt x="103" y="17"/>
                      </a:lnTo>
                      <a:lnTo>
                        <a:pt x="189" y="103"/>
                      </a:lnTo>
                      <a:lnTo>
                        <a:pt x="245" y="56"/>
                      </a:lnTo>
                      <a:lnTo>
                        <a:pt x="282" y="188"/>
                      </a:ln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2" name="组合 1">
                <a:extLst>
                  <a:ext uri="{FF2B5EF4-FFF2-40B4-BE49-F238E27FC236}">
                    <a16:creationId xmlns:a16="http://schemas.microsoft.com/office/drawing/2014/main" id="{41BCCCE1-3E6A-4C24-8D23-54317C0A8BB2}"/>
                  </a:ext>
                </a:extLst>
              </p:cNvPr>
              <p:cNvGrpSpPr/>
              <p:nvPr/>
            </p:nvGrpSpPr>
            <p:grpSpPr>
              <a:xfrm>
                <a:off x="-22870" y="1512873"/>
                <a:ext cx="9395139" cy="3610229"/>
                <a:chOff x="-22870" y="1512873"/>
                <a:chExt cx="9395139" cy="3610229"/>
              </a:xfrm>
            </p:grpSpPr>
            <p:sp>
              <p:nvSpPr>
                <p:cNvPr id="32" name="Freeform 6"/>
                <p:cNvSpPr>
                  <a:spLocks/>
                </p:cNvSpPr>
                <p:nvPr/>
              </p:nvSpPr>
              <p:spPr bwMode="auto">
                <a:xfrm>
                  <a:off x="-22870" y="2000289"/>
                  <a:ext cx="9395139" cy="2462571"/>
                </a:xfrm>
                <a:custGeom>
                  <a:avLst/>
                  <a:gdLst>
                    <a:gd name="T0" fmla="*/ 4415 w 4902"/>
                    <a:gd name="T1" fmla="*/ 13 h 1301"/>
                    <a:gd name="T2" fmla="*/ 4658 w 4902"/>
                    <a:gd name="T3" fmla="*/ 87 h 1301"/>
                    <a:gd name="T4" fmla="*/ 4902 w 4902"/>
                    <a:gd name="T5" fmla="*/ 238 h 1301"/>
                    <a:gd name="T6" fmla="*/ 4734 w 4902"/>
                    <a:gd name="T7" fmla="*/ 139 h 1301"/>
                    <a:gd name="T8" fmla="*/ 4492 w 4902"/>
                    <a:gd name="T9" fmla="*/ 41 h 1301"/>
                    <a:gd name="T10" fmla="*/ 4253 w 4902"/>
                    <a:gd name="T11" fmla="*/ 11 h 1301"/>
                    <a:gd name="T12" fmla="*/ 3954 w 4902"/>
                    <a:gd name="T13" fmla="*/ 55 h 1301"/>
                    <a:gd name="T14" fmla="*/ 3670 w 4902"/>
                    <a:gd name="T15" fmla="*/ 165 h 1301"/>
                    <a:gd name="T16" fmla="*/ 3409 w 4902"/>
                    <a:gd name="T17" fmla="*/ 321 h 1301"/>
                    <a:gd name="T18" fmla="*/ 3177 w 4902"/>
                    <a:gd name="T19" fmla="*/ 495 h 1301"/>
                    <a:gd name="T20" fmla="*/ 2982 w 4902"/>
                    <a:gd name="T21" fmla="*/ 664 h 1301"/>
                    <a:gd name="T22" fmla="*/ 2820 w 4902"/>
                    <a:gd name="T23" fmla="*/ 812 h 1301"/>
                    <a:gd name="T24" fmla="*/ 2635 w 4902"/>
                    <a:gd name="T25" fmla="*/ 977 h 1301"/>
                    <a:gd name="T26" fmla="*/ 2426 w 4902"/>
                    <a:gd name="T27" fmla="*/ 1134 h 1301"/>
                    <a:gd name="T28" fmla="*/ 2204 w 4902"/>
                    <a:gd name="T29" fmla="*/ 1255 h 1301"/>
                    <a:gd name="T30" fmla="*/ 1973 w 4902"/>
                    <a:gd name="T31" fmla="*/ 1301 h 1301"/>
                    <a:gd name="T32" fmla="*/ 1822 w 4902"/>
                    <a:gd name="T33" fmla="*/ 1277 h 1301"/>
                    <a:gd name="T34" fmla="*/ 1675 w 4902"/>
                    <a:gd name="T35" fmla="*/ 1198 h 1301"/>
                    <a:gd name="T36" fmla="*/ 1532 w 4902"/>
                    <a:gd name="T37" fmla="*/ 1056 h 1301"/>
                    <a:gd name="T38" fmla="*/ 1397 w 4902"/>
                    <a:gd name="T39" fmla="*/ 841 h 1301"/>
                    <a:gd name="T40" fmla="*/ 1242 w 4902"/>
                    <a:gd name="T41" fmla="*/ 586 h 1301"/>
                    <a:gd name="T42" fmla="*/ 1083 w 4902"/>
                    <a:gd name="T43" fmla="*/ 409 h 1301"/>
                    <a:gd name="T44" fmla="*/ 923 w 4902"/>
                    <a:gd name="T45" fmla="*/ 301 h 1301"/>
                    <a:gd name="T46" fmla="*/ 762 w 4902"/>
                    <a:gd name="T47" fmla="*/ 257 h 1301"/>
                    <a:gd name="T48" fmla="*/ 559 w 4902"/>
                    <a:gd name="T49" fmla="*/ 275 h 1301"/>
                    <a:gd name="T50" fmla="*/ 342 w 4902"/>
                    <a:gd name="T51" fmla="*/ 379 h 1301"/>
                    <a:gd name="T52" fmla="*/ 137 w 4902"/>
                    <a:gd name="T53" fmla="*/ 547 h 1301"/>
                    <a:gd name="T54" fmla="*/ 0 w 4902"/>
                    <a:gd name="T55" fmla="*/ 676 h 1301"/>
                    <a:gd name="T56" fmla="*/ 177 w 4902"/>
                    <a:gd name="T57" fmla="*/ 492 h 1301"/>
                    <a:gd name="T58" fmla="*/ 367 w 4902"/>
                    <a:gd name="T59" fmla="*/ 348 h 1301"/>
                    <a:gd name="T60" fmla="*/ 569 w 4902"/>
                    <a:gd name="T61" fmla="*/ 260 h 1301"/>
                    <a:gd name="T62" fmla="*/ 764 w 4902"/>
                    <a:gd name="T63" fmla="*/ 245 h 1301"/>
                    <a:gd name="T64" fmla="*/ 927 w 4902"/>
                    <a:gd name="T65" fmla="*/ 291 h 1301"/>
                    <a:gd name="T66" fmla="*/ 1091 w 4902"/>
                    <a:gd name="T67" fmla="*/ 400 h 1301"/>
                    <a:gd name="T68" fmla="*/ 1251 w 4902"/>
                    <a:gd name="T69" fmla="*/ 578 h 1301"/>
                    <a:gd name="T70" fmla="*/ 1407 w 4902"/>
                    <a:gd name="T71" fmla="*/ 835 h 1301"/>
                    <a:gd name="T72" fmla="*/ 1541 w 4902"/>
                    <a:gd name="T73" fmla="*/ 1048 h 1301"/>
                    <a:gd name="T74" fmla="*/ 1682 w 4902"/>
                    <a:gd name="T75" fmla="*/ 1188 h 1301"/>
                    <a:gd name="T76" fmla="*/ 1826 w 4902"/>
                    <a:gd name="T77" fmla="*/ 1265 h 1301"/>
                    <a:gd name="T78" fmla="*/ 1973 w 4902"/>
                    <a:gd name="T79" fmla="*/ 1289 h 1301"/>
                    <a:gd name="T80" fmla="*/ 2199 w 4902"/>
                    <a:gd name="T81" fmla="*/ 1243 h 1301"/>
                    <a:gd name="T82" fmla="*/ 2421 w 4902"/>
                    <a:gd name="T83" fmla="*/ 1125 h 1301"/>
                    <a:gd name="T84" fmla="*/ 2627 w 4902"/>
                    <a:gd name="T85" fmla="*/ 968 h 1301"/>
                    <a:gd name="T86" fmla="*/ 2811 w 4902"/>
                    <a:gd name="T87" fmla="*/ 803 h 1301"/>
                    <a:gd name="T88" fmla="*/ 2975 w 4902"/>
                    <a:gd name="T89" fmla="*/ 655 h 1301"/>
                    <a:gd name="T90" fmla="*/ 3169 w 4902"/>
                    <a:gd name="T91" fmla="*/ 486 h 1301"/>
                    <a:gd name="T92" fmla="*/ 3403 w 4902"/>
                    <a:gd name="T93" fmla="*/ 310 h 1301"/>
                    <a:gd name="T94" fmla="*/ 3664 w 4902"/>
                    <a:gd name="T95" fmla="*/ 154 h 1301"/>
                    <a:gd name="T96" fmla="*/ 3951 w 4902"/>
                    <a:gd name="T97" fmla="*/ 43 h 1301"/>
                    <a:gd name="T98" fmla="*/ 4253 w 4902"/>
                    <a:gd name="T99" fmla="*/ 0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02" h="1301">
                      <a:moveTo>
                        <a:pt x="4253" y="0"/>
                      </a:moveTo>
                      <a:lnTo>
                        <a:pt x="4333" y="3"/>
                      </a:lnTo>
                      <a:lnTo>
                        <a:pt x="4415" y="13"/>
                      </a:lnTo>
                      <a:lnTo>
                        <a:pt x="4495" y="29"/>
                      </a:lnTo>
                      <a:lnTo>
                        <a:pt x="4577" y="55"/>
                      </a:lnTo>
                      <a:lnTo>
                        <a:pt x="4658" y="87"/>
                      </a:lnTo>
                      <a:lnTo>
                        <a:pt x="4740" y="129"/>
                      </a:lnTo>
                      <a:lnTo>
                        <a:pt x="4822" y="178"/>
                      </a:lnTo>
                      <a:lnTo>
                        <a:pt x="4902" y="238"/>
                      </a:lnTo>
                      <a:lnTo>
                        <a:pt x="4895" y="246"/>
                      </a:lnTo>
                      <a:lnTo>
                        <a:pt x="4814" y="188"/>
                      </a:lnTo>
                      <a:lnTo>
                        <a:pt x="4734" y="139"/>
                      </a:lnTo>
                      <a:lnTo>
                        <a:pt x="4654" y="98"/>
                      </a:lnTo>
                      <a:lnTo>
                        <a:pt x="4572" y="66"/>
                      </a:lnTo>
                      <a:lnTo>
                        <a:pt x="4492" y="41"/>
                      </a:lnTo>
                      <a:lnTo>
                        <a:pt x="4412" y="25"/>
                      </a:lnTo>
                      <a:lnTo>
                        <a:pt x="4333" y="14"/>
                      </a:lnTo>
                      <a:lnTo>
                        <a:pt x="4253" y="11"/>
                      </a:lnTo>
                      <a:lnTo>
                        <a:pt x="4152" y="16"/>
                      </a:lnTo>
                      <a:lnTo>
                        <a:pt x="4052" y="31"/>
                      </a:lnTo>
                      <a:lnTo>
                        <a:pt x="3954" y="55"/>
                      </a:lnTo>
                      <a:lnTo>
                        <a:pt x="3857" y="84"/>
                      </a:lnTo>
                      <a:lnTo>
                        <a:pt x="3762" y="121"/>
                      </a:lnTo>
                      <a:lnTo>
                        <a:pt x="3670" y="165"/>
                      </a:lnTo>
                      <a:lnTo>
                        <a:pt x="3580" y="214"/>
                      </a:lnTo>
                      <a:lnTo>
                        <a:pt x="3493" y="266"/>
                      </a:lnTo>
                      <a:lnTo>
                        <a:pt x="3409" y="321"/>
                      </a:lnTo>
                      <a:lnTo>
                        <a:pt x="3328" y="377"/>
                      </a:lnTo>
                      <a:lnTo>
                        <a:pt x="3251" y="437"/>
                      </a:lnTo>
                      <a:lnTo>
                        <a:pt x="3177" y="495"/>
                      </a:lnTo>
                      <a:lnTo>
                        <a:pt x="3109" y="553"/>
                      </a:lnTo>
                      <a:lnTo>
                        <a:pt x="3043" y="609"/>
                      </a:lnTo>
                      <a:lnTo>
                        <a:pt x="2982" y="664"/>
                      </a:lnTo>
                      <a:lnTo>
                        <a:pt x="2926" y="715"/>
                      </a:lnTo>
                      <a:lnTo>
                        <a:pt x="2875" y="761"/>
                      </a:lnTo>
                      <a:lnTo>
                        <a:pt x="2820" y="812"/>
                      </a:lnTo>
                      <a:lnTo>
                        <a:pt x="2761" y="865"/>
                      </a:lnTo>
                      <a:lnTo>
                        <a:pt x="2700" y="920"/>
                      </a:lnTo>
                      <a:lnTo>
                        <a:pt x="2635" y="977"/>
                      </a:lnTo>
                      <a:lnTo>
                        <a:pt x="2568" y="1032"/>
                      </a:lnTo>
                      <a:lnTo>
                        <a:pt x="2498" y="1085"/>
                      </a:lnTo>
                      <a:lnTo>
                        <a:pt x="2426" y="1134"/>
                      </a:lnTo>
                      <a:lnTo>
                        <a:pt x="2354" y="1181"/>
                      </a:lnTo>
                      <a:lnTo>
                        <a:pt x="2279" y="1221"/>
                      </a:lnTo>
                      <a:lnTo>
                        <a:pt x="2204" y="1255"/>
                      </a:lnTo>
                      <a:lnTo>
                        <a:pt x="2128" y="1280"/>
                      </a:lnTo>
                      <a:lnTo>
                        <a:pt x="2051" y="1297"/>
                      </a:lnTo>
                      <a:lnTo>
                        <a:pt x="1973" y="1301"/>
                      </a:lnTo>
                      <a:lnTo>
                        <a:pt x="1923" y="1300"/>
                      </a:lnTo>
                      <a:lnTo>
                        <a:pt x="1872" y="1291"/>
                      </a:lnTo>
                      <a:lnTo>
                        <a:pt x="1822" y="1277"/>
                      </a:lnTo>
                      <a:lnTo>
                        <a:pt x="1773" y="1258"/>
                      </a:lnTo>
                      <a:lnTo>
                        <a:pt x="1724" y="1231"/>
                      </a:lnTo>
                      <a:lnTo>
                        <a:pt x="1675" y="1198"/>
                      </a:lnTo>
                      <a:lnTo>
                        <a:pt x="1626" y="1158"/>
                      </a:lnTo>
                      <a:lnTo>
                        <a:pt x="1578" y="1111"/>
                      </a:lnTo>
                      <a:lnTo>
                        <a:pt x="1532" y="1056"/>
                      </a:lnTo>
                      <a:lnTo>
                        <a:pt x="1486" y="993"/>
                      </a:lnTo>
                      <a:lnTo>
                        <a:pt x="1441" y="922"/>
                      </a:lnTo>
                      <a:lnTo>
                        <a:pt x="1397" y="841"/>
                      </a:lnTo>
                      <a:lnTo>
                        <a:pt x="1346" y="746"/>
                      </a:lnTo>
                      <a:lnTo>
                        <a:pt x="1294" y="661"/>
                      </a:lnTo>
                      <a:lnTo>
                        <a:pt x="1242" y="586"/>
                      </a:lnTo>
                      <a:lnTo>
                        <a:pt x="1189" y="519"/>
                      </a:lnTo>
                      <a:lnTo>
                        <a:pt x="1137" y="461"/>
                      </a:lnTo>
                      <a:lnTo>
                        <a:pt x="1083" y="409"/>
                      </a:lnTo>
                      <a:lnTo>
                        <a:pt x="1030" y="365"/>
                      </a:lnTo>
                      <a:lnTo>
                        <a:pt x="976" y="331"/>
                      </a:lnTo>
                      <a:lnTo>
                        <a:pt x="923" y="301"/>
                      </a:lnTo>
                      <a:lnTo>
                        <a:pt x="869" y="281"/>
                      </a:lnTo>
                      <a:lnTo>
                        <a:pt x="816" y="266"/>
                      </a:lnTo>
                      <a:lnTo>
                        <a:pt x="762" y="257"/>
                      </a:lnTo>
                      <a:lnTo>
                        <a:pt x="709" y="254"/>
                      </a:lnTo>
                      <a:lnTo>
                        <a:pt x="633" y="260"/>
                      </a:lnTo>
                      <a:lnTo>
                        <a:pt x="559" y="275"/>
                      </a:lnTo>
                      <a:lnTo>
                        <a:pt x="486" y="301"/>
                      </a:lnTo>
                      <a:lnTo>
                        <a:pt x="413" y="336"/>
                      </a:lnTo>
                      <a:lnTo>
                        <a:pt x="342" y="379"/>
                      </a:lnTo>
                      <a:lnTo>
                        <a:pt x="272" y="428"/>
                      </a:lnTo>
                      <a:lnTo>
                        <a:pt x="202" y="484"/>
                      </a:lnTo>
                      <a:lnTo>
                        <a:pt x="137" y="547"/>
                      </a:lnTo>
                      <a:lnTo>
                        <a:pt x="71" y="612"/>
                      </a:lnTo>
                      <a:lnTo>
                        <a:pt x="9" y="684"/>
                      </a:lnTo>
                      <a:lnTo>
                        <a:pt x="0" y="676"/>
                      </a:lnTo>
                      <a:lnTo>
                        <a:pt x="56" y="611"/>
                      </a:lnTo>
                      <a:lnTo>
                        <a:pt x="116" y="550"/>
                      </a:lnTo>
                      <a:lnTo>
                        <a:pt x="177" y="492"/>
                      </a:lnTo>
                      <a:lnTo>
                        <a:pt x="239" y="438"/>
                      </a:lnTo>
                      <a:lnTo>
                        <a:pt x="303" y="391"/>
                      </a:lnTo>
                      <a:lnTo>
                        <a:pt x="367" y="348"/>
                      </a:lnTo>
                      <a:lnTo>
                        <a:pt x="434" y="312"/>
                      </a:lnTo>
                      <a:lnTo>
                        <a:pt x="501" y="282"/>
                      </a:lnTo>
                      <a:lnTo>
                        <a:pt x="569" y="260"/>
                      </a:lnTo>
                      <a:lnTo>
                        <a:pt x="639" y="246"/>
                      </a:lnTo>
                      <a:lnTo>
                        <a:pt x="709" y="242"/>
                      </a:lnTo>
                      <a:lnTo>
                        <a:pt x="764" y="245"/>
                      </a:lnTo>
                      <a:lnTo>
                        <a:pt x="819" y="254"/>
                      </a:lnTo>
                      <a:lnTo>
                        <a:pt x="872" y="269"/>
                      </a:lnTo>
                      <a:lnTo>
                        <a:pt x="927" y="291"/>
                      </a:lnTo>
                      <a:lnTo>
                        <a:pt x="982" y="321"/>
                      </a:lnTo>
                      <a:lnTo>
                        <a:pt x="1037" y="357"/>
                      </a:lnTo>
                      <a:lnTo>
                        <a:pt x="1091" y="400"/>
                      </a:lnTo>
                      <a:lnTo>
                        <a:pt x="1146" y="452"/>
                      </a:lnTo>
                      <a:lnTo>
                        <a:pt x="1199" y="511"/>
                      </a:lnTo>
                      <a:lnTo>
                        <a:pt x="1251" y="578"/>
                      </a:lnTo>
                      <a:lnTo>
                        <a:pt x="1305" y="655"/>
                      </a:lnTo>
                      <a:lnTo>
                        <a:pt x="1357" y="740"/>
                      </a:lnTo>
                      <a:lnTo>
                        <a:pt x="1407" y="835"/>
                      </a:lnTo>
                      <a:lnTo>
                        <a:pt x="1452" y="914"/>
                      </a:lnTo>
                      <a:lnTo>
                        <a:pt x="1496" y="986"/>
                      </a:lnTo>
                      <a:lnTo>
                        <a:pt x="1541" y="1048"/>
                      </a:lnTo>
                      <a:lnTo>
                        <a:pt x="1587" y="1103"/>
                      </a:lnTo>
                      <a:lnTo>
                        <a:pt x="1634" y="1149"/>
                      </a:lnTo>
                      <a:lnTo>
                        <a:pt x="1682" y="1188"/>
                      </a:lnTo>
                      <a:lnTo>
                        <a:pt x="1730" y="1221"/>
                      </a:lnTo>
                      <a:lnTo>
                        <a:pt x="1777" y="1246"/>
                      </a:lnTo>
                      <a:lnTo>
                        <a:pt x="1826" y="1265"/>
                      </a:lnTo>
                      <a:lnTo>
                        <a:pt x="1875" y="1279"/>
                      </a:lnTo>
                      <a:lnTo>
                        <a:pt x="1924" y="1288"/>
                      </a:lnTo>
                      <a:lnTo>
                        <a:pt x="1973" y="1289"/>
                      </a:lnTo>
                      <a:lnTo>
                        <a:pt x="2049" y="1285"/>
                      </a:lnTo>
                      <a:lnTo>
                        <a:pt x="2125" y="1268"/>
                      </a:lnTo>
                      <a:lnTo>
                        <a:pt x="2199" y="1243"/>
                      </a:lnTo>
                      <a:lnTo>
                        <a:pt x="2273" y="1210"/>
                      </a:lnTo>
                      <a:lnTo>
                        <a:pt x="2348" y="1170"/>
                      </a:lnTo>
                      <a:lnTo>
                        <a:pt x="2421" y="1125"/>
                      </a:lnTo>
                      <a:lnTo>
                        <a:pt x="2490" y="1075"/>
                      </a:lnTo>
                      <a:lnTo>
                        <a:pt x="2560" y="1023"/>
                      </a:lnTo>
                      <a:lnTo>
                        <a:pt x="2627" y="968"/>
                      </a:lnTo>
                      <a:lnTo>
                        <a:pt x="2691" y="911"/>
                      </a:lnTo>
                      <a:lnTo>
                        <a:pt x="2753" y="856"/>
                      </a:lnTo>
                      <a:lnTo>
                        <a:pt x="2811" y="803"/>
                      </a:lnTo>
                      <a:lnTo>
                        <a:pt x="2868" y="752"/>
                      </a:lnTo>
                      <a:lnTo>
                        <a:pt x="2918" y="706"/>
                      </a:lnTo>
                      <a:lnTo>
                        <a:pt x="2975" y="655"/>
                      </a:lnTo>
                      <a:lnTo>
                        <a:pt x="3034" y="600"/>
                      </a:lnTo>
                      <a:lnTo>
                        <a:pt x="3100" y="544"/>
                      </a:lnTo>
                      <a:lnTo>
                        <a:pt x="3169" y="486"/>
                      </a:lnTo>
                      <a:lnTo>
                        <a:pt x="3244" y="426"/>
                      </a:lnTo>
                      <a:lnTo>
                        <a:pt x="3321" y="368"/>
                      </a:lnTo>
                      <a:lnTo>
                        <a:pt x="3403" y="310"/>
                      </a:lnTo>
                      <a:lnTo>
                        <a:pt x="3486" y="255"/>
                      </a:lnTo>
                      <a:lnTo>
                        <a:pt x="3574" y="203"/>
                      </a:lnTo>
                      <a:lnTo>
                        <a:pt x="3664" y="154"/>
                      </a:lnTo>
                      <a:lnTo>
                        <a:pt x="3758" y="111"/>
                      </a:lnTo>
                      <a:lnTo>
                        <a:pt x="3853" y="74"/>
                      </a:lnTo>
                      <a:lnTo>
                        <a:pt x="3951" y="43"/>
                      </a:lnTo>
                      <a:lnTo>
                        <a:pt x="4049" y="19"/>
                      </a:lnTo>
                      <a:lnTo>
                        <a:pt x="4150" y="4"/>
                      </a:lnTo>
                      <a:lnTo>
                        <a:pt x="4253"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nvGrpSpPr>
                <p:cNvPr id="34" name="Group 19"/>
                <p:cNvGrpSpPr/>
                <p:nvPr/>
              </p:nvGrpSpPr>
              <p:grpSpPr>
                <a:xfrm>
                  <a:off x="559226" y="2909854"/>
                  <a:ext cx="1517831" cy="958441"/>
                  <a:chOff x="552376" y="2667382"/>
                  <a:chExt cx="1499240" cy="958587"/>
                </a:xfrm>
              </p:grpSpPr>
              <p:sp>
                <p:nvSpPr>
                  <p:cNvPr id="35" name="Rectangle 26"/>
                  <p:cNvSpPr>
                    <a:spLocks/>
                  </p:cNvSpPr>
                  <p:nvPr/>
                </p:nvSpPr>
                <p:spPr bwMode="auto">
                  <a:xfrm>
                    <a:off x="552376" y="2880550"/>
                    <a:ext cx="1499240" cy="745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语言描述尽量简洁生动。尽量将每页幻灯片的字数控制在</a:t>
                    </a:r>
                    <a:r>
                      <a:rPr lang="en-US" altLang="zh-CN" sz="873" dirty="0">
                        <a:solidFill>
                          <a:srgbClr val="000000"/>
                        </a:solidFill>
                        <a:latin typeface="微软雅黑"/>
                        <a:ea typeface="微软雅黑"/>
                        <a:cs typeface="Lato Light" charset="0"/>
                        <a:sym typeface="Lato Light" charset="0"/>
                      </a:rPr>
                      <a:t>200</a:t>
                    </a:r>
                    <a:r>
                      <a:rPr lang="zh-CN" altLang="en-US" sz="873" dirty="0">
                        <a:solidFill>
                          <a:srgbClr val="000000"/>
                        </a:solidFill>
                        <a:latin typeface="微软雅黑"/>
                        <a:ea typeface="微软雅黑"/>
                        <a:cs typeface="Lato Light" charset="0"/>
                        <a:sym typeface="Lato Light" charset="0"/>
                      </a:rPr>
                      <a:t>字之内。</a:t>
                    </a:r>
                    <a:endParaRPr lang="en-US" sz="873" dirty="0">
                      <a:solidFill>
                        <a:srgbClr val="000000"/>
                      </a:solidFill>
                      <a:latin typeface="微软雅黑"/>
                      <a:ea typeface="微软雅黑"/>
                      <a:cs typeface="Lato Light" charset="0"/>
                      <a:sym typeface="Lato Light" charset="0"/>
                    </a:endParaRPr>
                  </a:p>
                </p:txBody>
              </p:sp>
              <p:sp>
                <p:nvSpPr>
                  <p:cNvPr id="36"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1"/>
                        </a:solidFill>
                        <a:latin typeface="微软雅黑"/>
                        <a:ea typeface="微软雅黑"/>
                        <a:cs typeface="Bebas Neue" charset="0"/>
                        <a:sym typeface="Bebas Neue" charset="0"/>
                      </a:rPr>
                      <a:t>添加标题</a:t>
                    </a:r>
                    <a:endParaRPr lang="en-US" altLang="zh-CN" sz="1746" dirty="0">
                      <a:solidFill>
                        <a:schemeClr val="bg1"/>
                      </a:solidFill>
                      <a:latin typeface="微软雅黑"/>
                      <a:ea typeface="微软雅黑"/>
                      <a:cs typeface="Bebas Neue" charset="0"/>
                      <a:sym typeface="Bebas Neue" charset="0"/>
                    </a:endParaRPr>
                  </a:p>
                </p:txBody>
              </p:sp>
            </p:grpSp>
            <p:sp>
              <p:nvSpPr>
                <p:cNvPr id="37" name="Freeform 13"/>
                <p:cNvSpPr>
                  <a:spLocks/>
                </p:cNvSpPr>
                <p:nvPr/>
              </p:nvSpPr>
              <p:spPr bwMode="auto">
                <a:xfrm rot="5910658">
                  <a:off x="6141224" y="2006253"/>
                  <a:ext cx="1030748" cy="348067"/>
                </a:xfrm>
                <a:custGeom>
                  <a:avLst/>
                  <a:gdLst>
                    <a:gd name="T0" fmla="*/ 461 w 962"/>
                    <a:gd name="T1" fmla="*/ 0 h 183"/>
                    <a:gd name="T2" fmla="*/ 531 w 962"/>
                    <a:gd name="T3" fmla="*/ 3 h 183"/>
                    <a:gd name="T4" fmla="*/ 601 w 962"/>
                    <a:gd name="T5" fmla="*/ 12 h 183"/>
                    <a:gd name="T6" fmla="*/ 672 w 962"/>
                    <a:gd name="T7" fmla="*/ 28 h 183"/>
                    <a:gd name="T8" fmla="*/ 745 w 962"/>
                    <a:gd name="T9" fmla="*/ 52 h 183"/>
                    <a:gd name="T10" fmla="*/ 818 w 962"/>
                    <a:gd name="T11" fmla="*/ 83 h 183"/>
                    <a:gd name="T12" fmla="*/ 889 w 962"/>
                    <a:gd name="T13" fmla="*/ 124 h 183"/>
                    <a:gd name="T14" fmla="*/ 962 w 962"/>
                    <a:gd name="T15" fmla="*/ 173 h 183"/>
                    <a:gd name="T16" fmla="*/ 954 w 962"/>
                    <a:gd name="T17" fmla="*/ 183 h 183"/>
                    <a:gd name="T18" fmla="*/ 883 w 962"/>
                    <a:gd name="T19" fmla="*/ 134 h 183"/>
                    <a:gd name="T20" fmla="*/ 812 w 962"/>
                    <a:gd name="T21" fmla="*/ 95 h 183"/>
                    <a:gd name="T22" fmla="*/ 740 w 962"/>
                    <a:gd name="T23" fmla="*/ 64 h 183"/>
                    <a:gd name="T24" fmla="*/ 669 w 962"/>
                    <a:gd name="T25" fmla="*/ 40 h 183"/>
                    <a:gd name="T26" fmla="*/ 599 w 962"/>
                    <a:gd name="T27" fmla="*/ 24 h 183"/>
                    <a:gd name="T28" fmla="*/ 529 w 962"/>
                    <a:gd name="T29" fmla="*/ 15 h 183"/>
                    <a:gd name="T30" fmla="*/ 461 w 962"/>
                    <a:gd name="T31" fmla="*/ 12 h 183"/>
                    <a:gd name="T32" fmla="*/ 387 w 962"/>
                    <a:gd name="T33" fmla="*/ 15 h 183"/>
                    <a:gd name="T34" fmla="*/ 314 w 962"/>
                    <a:gd name="T35" fmla="*/ 25 h 183"/>
                    <a:gd name="T36" fmla="*/ 246 w 962"/>
                    <a:gd name="T37" fmla="*/ 42 h 183"/>
                    <a:gd name="T38" fmla="*/ 180 w 962"/>
                    <a:gd name="T39" fmla="*/ 64 h 183"/>
                    <a:gd name="T40" fmla="*/ 118 w 962"/>
                    <a:gd name="T41" fmla="*/ 91 h 183"/>
                    <a:gd name="T42" fmla="*/ 60 w 962"/>
                    <a:gd name="T43" fmla="*/ 121 h 183"/>
                    <a:gd name="T44" fmla="*/ 8 w 962"/>
                    <a:gd name="T45" fmla="*/ 155 h 183"/>
                    <a:gd name="T46" fmla="*/ 8 w 962"/>
                    <a:gd name="T47" fmla="*/ 155 h 183"/>
                    <a:gd name="T48" fmla="*/ 0 w 962"/>
                    <a:gd name="T49" fmla="*/ 144 h 183"/>
                    <a:gd name="T50" fmla="*/ 54 w 962"/>
                    <a:gd name="T51" fmla="*/ 110 h 183"/>
                    <a:gd name="T52" fmla="*/ 112 w 962"/>
                    <a:gd name="T53" fmla="*/ 79 h 183"/>
                    <a:gd name="T54" fmla="*/ 176 w 962"/>
                    <a:gd name="T55" fmla="*/ 52 h 183"/>
                    <a:gd name="T56" fmla="*/ 243 w 962"/>
                    <a:gd name="T57" fmla="*/ 30 h 183"/>
                    <a:gd name="T58" fmla="*/ 312 w 962"/>
                    <a:gd name="T59" fmla="*/ 14 h 183"/>
                    <a:gd name="T60" fmla="*/ 385 w 962"/>
                    <a:gd name="T61" fmla="*/ 3 h 183"/>
                    <a:gd name="T62" fmla="*/ 461 w 962"/>
                    <a:gd name="T6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2" h="183">
                      <a:moveTo>
                        <a:pt x="461" y="0"/>
                      </a:moveTo>
                      <a:lnTo>
                        <a:pt x="531" y="3"/>
                      </a:lnTo>
                      <a:lnTo>
                        <a:pt x="601" y="12"/>
                      </a:lnTo>
                      <a:lnTo>
                        <a:pt x="672" y="28"/>
                      </a:lnTo>
                      <a:lnTo>
                        <a:pt x="745" y="52"/>
                      </a:lnTo>
                      <a:lnTo>
                        <a:pt x="818" y="83"/>
                      </a:lnTo>
                      <a:lnTo>
                        <a:pt x="889" y="124"/>
                      </a:lnTo>
                      <a:lnTo>
                        <a:pt x="962" y="173"/>
                      </a:lnTo>
                      <a:lnTo>
                        <a:pt x="954" y="183"/>
                      </a:lnTo>
                      <a:lnTo>
                        <a:pt x="883" y="134"/>
                      </a:lnTo>
                      <a:lnTo>
                        <a:pt x="812" y="95"/>
                      </a:lnTo>
                      <a:lnTo>
                        <a:pt x="740" y="64"/>
                      </a:lnTo>
                      <a:lnTo>
                        <a:pt x="669" y="40"/>
                      </a:lnTo>
                      <a:lnTo>
                        <a:pt x="599" y="24"/>
                      </a:lnTo>
                      <a:lnTo>
                        <a:pt x="529" y="15"/>
                      </a:lnTo>
                      <a:lnTo>
                        <a:pt x="461" y="12"/>
                      </a:lnTo>
                      <a:lnTo>
                        <a:pt x="387" y="15"/>
                      </a:lnTo>
                      <a:lnTo>
                        <a:pt x="314" y="25"/>
                      </a:lnTo>
                      <a:lnTo>
                        <a:pt x="246" y="42"/>
                      </a:lnTo>
                      <a:lnTo>
                        <a:pt x="180" y="64"/>
                      </a:lnTo>
                      <a:lnTo>
                        <a:pt x="118" y="91"/>
                      </a:lnTo>
                      <a:lnTo>
                        <a:pt x="60" y="121"/>
                      </a:lnTo>
                      <a:lnTo>
                        <a:pt x="8" y="155"/>
                      </a:lnTo>
                      <a:lnTo>
                        <a:pt x="8" y="155"/>
                      </a:lnTo>
                      <a:lnTo>
                        <a:pt x="0" y="144"/>
                      </a:lnTo>
                      <a:lnTo>
                        <a:pt x="54" y="110"/>
                      </a:lnTo>
                      <a:lnTo>
                        <a:pt x="112" y="79"/>
                      </a:lnTo>
                      <a:lnTo>
                        <a:pt x="176" y="52"/>
                      </a:lnTo>
                      <a:lnTo>
                        <a:pt x="243" y="30"/>
                      </a:lnTo>
                      <a:lnTo>
                        <a:pt x="312" y="14"/>
                      </a:lnTo>
                      <a:lnTo>
                        <a:pt x="385" y="3"/>
                      </a:lnTo>
                      <a:lnTo>
                        <a:pt x="461"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nvGrpSpPr>
                <p:cNvPr id="38" name="Group 129"/>
                <p:cNvGrpSpPr/>
                <p:nvPr/>
              </p:nvGrpSpPr>
              <p:grpSpPr>
                <a:xfrm>
                  <a:off x="2114720" y="2151508"/>
                  <a:ext cx="1379845" cy="852220"/>
                  <a:chOff x="696724" y="2667382"/>
                  <a:chExt cx="1362945" cy="852351"/>
                </a:xfrm>
              </p:grpSpPr>
              <p:sp>
                <p:nvSpPr>
                  <p:cNvPr id="39" name="Rectangle 26"/>
                  <p:cNvSpPr>
                    <a:spLocks/>
                  </p:cNvSpPr>
                  <p:nvPr/>
                </p:nvSpPr>
                <p:spPr bwMode="auto">
                  <a:xfrm>
                    <a:off x="696724" y="2920895"/>
                    <a:ext cx="1354892" cy="59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a:t>
                    </a:r>
                    <a:endParaRPr lang="en-US" sz="873" dirty="0">
                      <a:solidFill>
                        <a:srgbClr val="000000"/>
                      </a:solidFill>
                      <a:latin typeface="微软雅黑"/>
                      <a:ea typeface="微软雅黑"/>
                      <a:cs typeface="Lato Light" charset="0"/>
                      <a:sym typeface="Lato Light" charset="0"/>
                    </a:endParaRPr>
                  </a:p>
                </p:txBody>
              </p:sp>
              <p:sp>
                <p:nvSpPr>
                  <p:cNvPr id="40" name="Rectangle 27"/>
                  <p:cNvSpPr>
                    <a:spLocks/>
                  </p:cNvSpPr>
                  <p:nvPr/>
                </p:nvSpPr>
                <p:spPr bwMode="auto">
                  <a:xfrm>
                    <a:off x="6967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latin typeface="微软雅黑"/>
                        <a:ea typeface="微软雅黑"/>
                        <a:cs typeface="Bebas Neue" charset="0"/>
                        <a:sym typeface="Bebas Neue" charset="0"/>
                      </a:rPr>
                      <a:t>添加标题</a:t>
                    </a:r>
                    <a:endParaRPr lang="en-US" altLang="zh-CN" sz="1746" dirty="0">
                      <a:latin typeface="微软雅黑"/>
                      <a:ea typeface="微软雅黑"/>
                      <a:cs typeface="Bebas Neue" charset="0"/>
                      <a:sym typeface="Bebas Neue" charset="0"/>
                    </a:endParaRPr>
                  </a:p>
                </p:txBody>
              </p:sp>
            </p:grpSp>
            <p:grpSp>
              <p:nvGrpSpPr>
                <p:cNvPr id="41" name="Group 132"/>
                <p:cNvGrpSpPr/>
                <p:nvPr/>
              </p:nvGrpSpPr>
              <p:grpSpPr>
                <a:xfrm>
                  <a:off x="4918723" y="1512873"/>
                  <a:ext cx="1379845" cy="867219"/>
                  <a:chOff x="696724" y="2667383"/>
                  <a:chExt cx="1362945" cy="867352"/>
                </a:xfrm>
              </p:grpSpPr>
              <p:sp>
                <p:nvSpPr>
                  <p:cNvPr id="42" name="Rectangle 26"/>
                  <p:cNvSpPr>
                    <a:spLocks/>
                  </p:cNvSpPr>
                  <p:nvPr/>
                </p:nvSpPr>
                <p:spPr bwMode="auto">
                  <a:xfrm>
                    <a:off x="696724" y="2935897"/>
                    <a:ext cx="1354892" cy="59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a:t>
                    </a:r>
                    <a:endParaRPr lang="en-US" sz="873" dirty="0">
                      <a:solidFill>
                        <a:srgbClr val="000000"/>
                      </a:solidFill>
                      <a:latin typeface="微软雅黑"/>
                      <a:ea typeface="微软雅黑"/>
                      <a:cs typeface="Lato Light" charset="0"/>
                      <a:sym typeface="Lato Light" charset="0"/>
                    </a:endParaRPr>
                  </a:p>
                </p:txBody>
              </p:sp>
              <p:sp>
                <p:nvSpPr>
                  <p:cNvPr id="43" name="Rectangle 27"/>
                  <p:cNvSpPr>
                    <a:spLocks/>
                  </p:cNvSpPr>
                  <p:nvPr/>
                </p:nvSpPr>
                <p:spPr bwMode="auto">
                  <a:xfrm>
                    <a:off x="696724" y="2667383"/>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tx2"/>
                        </a:solidFill>
                        <a:latin typeface="微软雅黑"/>
                        <a:ea typeface="微软雅黑"/>
                        <a:cs typeface="Bebas Neue" charset="0"/>
                        <a:sym typeface="Bebas Neue" charset="0"/>
                      </a:rPr>
                      <a:t>添加标题</a:t>
                    </a:r>
                    <a:endParaRPr lang="en-US" altLang="zh-CN" sz="1746" dirty="0">
                      <a:solidFill>
                        <a:schemeClr val="tx2"/>
                      </a:solidFill>
                      <a:latin typeface="微软雅黑"/>
                      <a:ea typeface="微软雅黑"/>
                      <a:cs typeface="Bebas Neue" charset="0"/>
                      <a:sym typeface="Bebas Neue" charset="0"/>
                    </a:endParaRPr>
                  </a:p>
                </p:txBody>
              </p:sp>
            </p:grpSp>
            <p:grpSp>
              <p:nvGrpSpPr>
                <p:cNvPr id="44" name="Group 135"/>
                <p:cNvGrpSpPr/>
                <p:nvPr/>
              </p:nvGrpSpPr>
              <p:grpSpPr>
                <a:xfrm>
                  <a:off x="4412533" y="4292644"/>
                  <a:ext cx="1517831" cy="830458"/>
                  <a:chOff x="552376" y="2667382"/>
                  <a:chExt cx="1499240" cy="830586"/>
                </a:xfrm>
              </p:grpSpPr>
              <p:sp>
                <p:nvSpPr>
                  <p:cNvPr id="45" name="Rectangle 26"/>
                  <p:cNvSpPr>
                    <a:spLocks/>
                  </p:cNvSpPr>
                  <p:nvPr/>
                </p:nvSpPr>
                <p:spPr bwMode="auto">
                  <a:xfrm>
                    <a:off x="552376" y="2907455"/>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语言描述尽量简洁生动。</a:t>
                    </a:r>
                    <a:endParaRPr lang="en-US" sz="873" dirty="0">
                      <a:solidFill>
                        <a:srgbClr val="000000"/>
                      </a:solidFill>
                      <a:latin typeface="微软雅黑"/>
                      <a:ea typeface="微软雅黑"/>
                      <a:cs typeface="Lato Light" charset="0"/>
                      <a:sym typeface="Lato Light" charset="0"/>
                    </a:endParaRPr>
                  </a:p>
                </p:txBody>
              </p:sp>
              <p:sp>
                <p:nvSpPr>
                  <p:cNvPr id="46"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2"/>
                        </a:solidFill>
                        <a:latin typeface="微软雅黑"/>
                        <a:ea typeface="微软雅黑"/>
                        <a:cs typeface="Bebas Neue" charset="0"/>
                        <a:sym typeface="Bebas Neue" charset="0"/>
                      </a:rPr>
                      <a:t>添加标题</a:t>
                    </a:r>
                    <a:endParaRPr lang="en-US" altLang="zh-CN" sz="1746" dirty="0">
                      <a:solidFill>
                        <a:schemeClr val="bg2"/>
                      </a:solidFill>
                      <a:latin typeface="微软雅黑"/>
                      <a:ea typeface="微软雅黑"/>
                      <a:cs typeface="Bebas Neue" charset="0"/>
                      <a:sym typeface="Bebas Neue" charset="0"/>
                    </a:endParaRPr>
                  </a:p>
                </p:txBody>
              </p:sp>
            </p:grpSp>
            <p:grpSp>
              <p:nvGrpSpPr>
                <p:cNvPr id="47" name="Group 138"/>
                <p:cNvGrpSpPr/>
                <p:nvPr/>
              </p:nvGrpSpPr>
              <p:grpSpPr>
                <a:xfrm>
                  <a:off x="6216072" y="3834035"/>
                  <a:ext cx="1517831" cy="831898"/>
                  <a:chOff x="552376" y="2667382"/>
                  <a:chExt cx="1499240" cy="832026"/>
                </a:xfrm>
              </p:grpSpPr>
              <p:sp>
                <p:nvSpPr>
                  <p:cNvPr id="48" name="Rectangle 26"/>
                  <p:cNvSpPr>
                    <a:spLocks/>
                  </p:cNvSpPr>
                  <p:nvPr/>
                </p:nvSpPr>
                <p:spPr bwMode="auto">
                  <a:xfrm>
                    <a:off x="552376" y="2908895"/>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语言描述尽量简洁生动。</a:t>
                    </a:r>
                    <a:endParaRPr lang="en-US" sz="873" dirty="0">
                      <a:solidFill>
                        <a:srgbClr val="000000"/>
                      </a:solidFill>
                      <a:latin typeface="微软雅黑"/>
                      <a:ea typeface="微软雅黑"/>
                      <a:cs typeface="Lato Light" charset="0"/>
                      <a:sym typeface="Lato Light" charset="0"/>
                    </a:endParaRPr>
                  </a:p>
                </p:txBody>
              </p:sp>
              <p:sp>
                <p:nvSpPr>
                  <p:cNvPr id="49"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1"/>
                        </a:solidFill>
                        <a:latin typeface="微软雅黑"/>
                        <a:ea typeface="微软雅黑"/>
                        <a:cs typeface="Bebas Neue" charset="0"/>
                        <a:sym typeface="Bebas Neue" charset="0"/>
                      </a:rPr>
                      <a:t>添加标题</a:t>
                    </a:r>
                    <a:endParaRPr lang="en-US" altLang="zh-CN" sz="1746" dirty="0">
                      <a:solidFill>
                        <a:schemeClr val="bg1"/>
                      </a:solidFill>
                      <a:latin typeface="微软雅黑"/>
                      <a:ea typeface="微软雅黑"/>
                      <a:cs typeface="Bebas Neue" charset="0"/>
                      <a:sym typeface="Bebas Neue" charset="0"/>
                    </a:endParaRPr>
                  </a:p>
                </p:txBody>
              </p:sp>
            </p:grpSp>
            <p:grpSp>
              <p:nvGrpSpPr>
                <p:cNvPr id="50" name="Group 141"/>
                <p:cNvGrpSpPr/>
                <p:nvPr/>
              </p:nvGrpSpPr>
              <p:grpSpPr>
                <a:xfrm>
                  <a:off x="7349516" y="2456223"/>
                  <a:ext cx="1517831" cy="838204"/>
                  <a:chOff x="552376" y="2667382"/>
                  <a:chExt cx="1499240" cy="838333"/>
                </a:xfrm>
              </p:grpSpPr>
              <p:sp>
                <p:nvSpPr>
                  <p:cNvPr id="51" name="Rectangle 26"/>
                  <p:cNvSpPr>
                    <a:spLocks/>
                  </p:cNvSpPr>
                  <p:nvPr/>
                </p:nvSpPr>
                <p:spPr bwMode="auto">
                  <a:xfrm>
                    <a:off x="552376" y="2915202"/>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此处添加详细文本描述，建议与标题相关并符合整体语言风格，语言描述尽量简洁生动。</a:t>
                    </a:r>
                    <a:endParaRPr lang="en-US" sz="873" dirty="0">
                      <a:solidFill>
                        <a:srgbClr val="000000"/>
                      </a:solidFill>
                      <a:latin typeface="微软雅黑"/>
                      <a:ea typeface="微软雅黑"/>
                      <a:cs typeface="Lato Light" charset="0"/>
                      <a:sym typeface="Lato Light" charset="0"/>
                    </a:endParaRPr>
                  </a:p>
                </p:txBody>
              </p:sp>
              <p:sp>
                <p:nvSpPr>
                  <p:cNvPr id="52"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latin typeface="微软雅黑"/>
                        <a:ea typeface="微软雅黑"/>
                        <a:cs typeface="Bebas Neue" charset="0"/>
                        <a:sym typeface="Bebas Neue" charset="0"/>
                      </a:rPr>
                      <a:t>添加标题</a:t>
                    </a:r>
                    <a:endParaRPr lang="en-US" altLang="zh-CN" sz="1746" dirty="0">
                      <a:latin typeface="微软雅黑"/>
                      <a:ea typeface="微软雅黑"/>
                      <a:cs typeface="Bebas Neue" charset="0"/>
                      <a:sym typeface="Bebas Neue" charset="0"/>
                    </a:endParaRPr>
                  </a:p>
                </p:txBody>
              </p:sp>
            </p:grpSp>
            <p:grpSp>
              <p:nvGrpSpPr>
                <p:cNvPr id="53" name="Group 15"/>
                <p:cNvGrpSpPr/>
                <p:nvPr/>
              </p:nvGrpSpPr>
              <p:grpSpPr>
                <a:xfrm>
                  <a:off x="6672044" y="3181878"/>
                  <a:ext cx="473092" cy="467227"/>
                  <a:chOff x="6590322" y="2740893"/>
                  <a:chExt cx="467298" cy="467298"/>
                </a:xfrm>
              </p:grpSpPr>
              <p:sp>
                <p:nvSpPr>
                  <p:cNvPr id="54" name="Freeform 11"/>
                  <p:cNvSpPr>
                    <a:spLocks/>
                  </p:cNvSpPr>
                  <p:nvPr/>
                </p:nvSpPr>
                <p:spPr bwMode="auto">
                  <a:xfrm>
                    <a:off x="6590322" y="2740893"/>
                    <a:ext cx="467298" cy="467298"/>
                  </a:xfrm>
                  <a:custGeom>
                    <a:avLst/>
                    <a:gdLst>
                      <a:gd name="T0" fmla="*/ 103 w 204"/>
                      <a:gd name="T1" fmla="*/ 0 h 204"/>
                      <a:gd name="T2" fmla="*/ 130 w 204"/>
                      <a:gd name="T3" fmla="*/ 3 h 204"/>
                      <a:gd name="T4" fmla="*/ 153 w 204"/>
                      <a:gd name="T5" fmla="*/ 13 h 204"/>
                      <a:gd name="T6" fmla="*/ 174 w 204"/>
                      <a:gd name="T7" fmla="*/ 30 h 204"/>
                      <a:gd name="T8" fmla="*/ 191 w 204"/>
                      <a:gd name="T9" fmla="*/ 51 h 204"/>
                      <a:gd name="T10" fmla="*/ 201 w 204"/>
                      <a:gd name="T11" fmla="*/ 74 h 204"/>
                      <a:gd name="T12" fmla="*/ 204 w 204"/>
                      <a:gd name="T13" fmla="*/ 101 h 204"/>
                      <a:gd name="T14" fmla="*/ 201 w 204"/>
                      <a:gd name="T15" fmla="*/ 128 h 204"/>
                      <a:gd name="T16" fmla="*/ 191 w 204"/>
                      <a:gd name="T17" fmla="*/ 153 h 204"/>
                      <a:gd name="T18" fmla="*/ 174 w 204"/>
                      <a:gd name="T19" fmla="*/ 174 h 204"/>
                      <a:gd name="T20" fmla="*/ 153 w 204"/>
                      <a:gd name="T21" fmla="*/ 189 h 204"/>
                      <a:gd name="T22" fmla="*/ 130 w 204"/>
                      <a:gd name="T23" fmla="*/ 199 h 204"/>
                      <a:gd name="T24" fmla="*/ 103 w 204"/>
                      <a:gd name="T25" fmla="*/ 204 h 204"/>
                      <a:gd name="T26" fmla="*/ 76 w 204"/>
                      <a:gd name="T27" fmla="*/ 199 h 204"/>
                      <a:gd name="T28" fmla="*/ 51 w 204"/>
                      <a:gd name="T29" fmla="*/ 189 h 204"/>
                      <a:gd name="T30" fmla="*/ 30 w 204"/>
                      <a:gd name="T31" fmla="*/ 174 h 204"/>
                      <a:gd name="T32" fmla="*/ 15 w 204"/>
                      <a:gd name="T33" fmla="*/ 153 h 204"/>
                      <a:gd name="T34" fmla="*/ 5 w 204"/>
                      <a:gd name="T35" fmla="*/ 128 h 204"/>
                      <a:gd name="T36" fmla="*/ 0 w 204"/>
                      <a:gd name="T37" fmla="*/ 101 h 204"/>
                      <a:gd name="T38" fmla="*/ 5 w 204"/>
                      <a:gd name="T39" fmla="*/ 74 h 204"/>
                      <a:gd name="T40" fmla="*/ 15 w 204"/>
                      <a:gd name="T41" fmla="*/ 51 h 204"/>
                      <a:gd name="T42" fmla="*/ 30 w 204"/>
                      <a:gd name="T43" fmla="*/ 30 h 204"/>
                      <a:gd name="T44" fmla="*/ 51 w 204"/>
                      <a:gd name="T45" fmla="*/ 13 h 204"/>
                      <a:gd name="T46" fmla="*/ 76 w 204"/>
                      <a:gd name="T47" fmla="*/ 3 h 204"/>
                      <a:gd name="T48" fmla="*/ 103 w 204"/>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4">
                        <a:moveTo>
                          <a:pt x="103" y="0"/>
                        </a:moveTo>
                        <a:lnTo>
                          <a:pt x="130" y="3"/>
                        </a:lnTo>
                        <a:lnTo>
                          <a:pt x="153" y="13"/>
                        </a:lnTo>
                        <a:lnTo>
                          <a:pt x="174" y="30"/>
                        </a:lnTo>
                        <a:lnTo>
                          <a:pt x="191" y="51"/>
                        </a:lnTo>
                        <a:lnTo>
                          <a:pt x="201" y="74"/>
                        </a:lnTo>
                        <a:lnTo>
                          <a:pt x="204" y="101"/>
                        </a:lnTo>
                        <a:lnTo>
                          <a:pt x="201" y="128"/>
                        </a:lnTo>
                        <a:lnTo>
                          <a:pt x="191" y="153"/>
                        </a:lnTo>
                        <a:lnTo>
                          <a:pt x="174" y="174"/>
                        </a:lnTo>
                        <a:lnTo>
                          <a:pt x="153" y="189"/>
                        </a:lnTo>
                        <a:lnTo>
                          <a:pt x="130" y="199"/>
                        </a:lnTo>
                        <a:lnTo>
                          <a:pt x="103" y="204"/>
                        </a:lnTo>
                        <a:lnTo>
                          <a:pt x="76" y="199"/>
                        </a:lnTo>
                        <a:lnTo>
                          <a:pt x="51" y="189"/>
                        </a:lnTo>
                        <a:lnTo>
                          <a:pt x="30" y="174"/>
                        </a:lnTo>
                        <a:lnTo>
                          <a:pt x="15" y="153"/>
                        </a:lnTo>
                        <a:lnTo>
                          <a:pt x="5" y="128"/>
                        </a:lnTo>
                        <a:lnTo>
                          <a:pt x="0" y="101"/>
                        </a:lnTo>
                        <a:lnTo>
                          <a:pt x="5" y="74"/>
                        </a:lnTo>
                        <a:lnTo>
                          <a:pt x="15" y="51"/>
                        </a:lnTo>
                        <a:lnTo>
                          <a:pt x="30" y="30"/>
                        </a:lnTo>
                        <a:lnTo>
                          <a:pt x="51" y="13"/>
                        </a:lnTo>
                        <a:lnTo>
                          <a:pt x="76" y="3"/>
                        </a:lnTo>
                        <a:lnTo>
                          <a:pt x="103" y="0"/>
                        </a:lnTo>
                        <a:close/>
                      </a:path>
                    </a:pathLst>
                  </a:custGeom>
                  <a:solidFill>
                    <a:schemeClr val="bg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55" name="Freeform 6"/>
                  <p:cNvSpPr>
                    <a:spLocks noEditPoints="1"/>
                  </p:cNvSpPr>
                  <p:nvPr/>
                </p:nvSpPr>
                <p:spPr bwMode="auto">
                  <a:xfrm>
                    <a:off x="6661500" y="2865381"/>
                    <a:ext cx="318518" cy="211972"/>
                  </a:xfrm>
                  <a:custGeom>
                    <a:avLst/>
                    <a:gdLst>
                      <a:gd name="T0" fmla="*/ 176 w 176"/>
                      <a:gd name="T1" fmla="*/ 99 h 117"/>
                      <a:gd name="T2" fmla="*/ 176 w 176"/>
                      <a:gd name="T3" fmla="*/ 108 h 117"/>
                      <a:gd name="T4" fmla="*/ 161 w 176"/>
                      <a:gd name="T5" fmla="*/ 117 h 117"/>
                      <a:gd name="T6" fmla="*/ 15 w 176"/>
                      <a:gd name="T7" fmla="*/ 117 h 117"/>
                      <a:gd name="T8" fmla="*/ 0 w 176"/>
                      <a:gd name="T9" fmla="*/ 108 h 117"/>
                      <a:gd name="T10" fmla="*/ 0 w 176"/>
                      <a:gd name="T11" fmla="*/ 99 h 117"/>
                      <a:gd name="T12" fmla="*/ 15 w 176"/>
                      <a:gd name="T13" fmla="*/ 99 h 117"/>
                      <a:gd name="T14" fmla="*/ 161 w 176"/>
                      <a:gd name="T15" fmla="*/ 99 h 117"/>
                      <a:gd name="T16" fmla="*/ 176 w 176"/>
                      <a:gd name="T17" fmla="*/ 99 h 117"/>
                      <a:gd name="T18" fmla="*/ 24 w 176"/>
                      <a:gd name="T19" fmla="*/ 79 h 117"/>
                      <a:gd name="T20" fmla="*/ 24 w 176"/>
                      <a:gd name="T21" fmla="*/ 14 h 117"/>
                      <a:gd name="T22" fmla="*/ 38 w 176"/>
                      <a:gd name="T23" fmla="*/ 0 h 117"/>
                      <a:gd name="T24" fmla="*/ 138 w 176"/>
                      <a:gd name="T25" fmla="*/ 0 h 117"/>
                      <a:gd name="T26" fmla="*/ 152 w 176"/>
                      <a:gd name="T27" fmla="*/ 14 h 117"/>
                      <a:gd name="T28" fmla="*/ 152 w 176"/>
                      <a:gd name="T29" fmla="*/ 79 h 117"/>
                      <a:gd name="T30" fmla="*/ 138 w 176"/>
                      <a:gd name="T31" fmla="*/ 93 h 117"/>
                      <a:gd name="T32" fmla="*/ 38 w 176"/>
                      <a:gd name="T33" fmla="*/ 93 h 117"/>
                      <a:gd name="T34" fmla="*/ 24 w 176"/>
                      <a:gd name="T35" fmla="*/ 79 h 117"/>
                      <a:gd name="T36" fmla="*/ 35 w 176"/>
                      <a:gd name="T37" fmla="*/ 79 h 117"/>
                      <a:gd name="T38" fmla="*/ 38 w 176"/>
                      <a:gd name="T39" fmla="*/ 82 h 117"/>
                      <a:gd name="T40" fmla="*/ 138 w 176"/>
                      <a:gd name="T41" fmla="*/ 82 h 117"/>
                      <a:gd name="T42" fmla="*/ 141 w 176"/>
                      <a:gd name="T43" fmla="*/ 79 h 117"/>
                      <a:gd name="T44" fmla="*/ 141 w 176"/>
                      <a:gd name="T45" fmla="*/ 14 h 117"/>
                      <a:gd name="T46" fmla="*/ 138 w 176"/>
                      <a:gd name="T47" fmla="*/ 11 h 117"/>
                      <a:gd name="T48" fmla="*/ 38 w 176"/>
                      <a:gd name="T49" fmla="*/ 11 h 117"/>
                      <a:gd name="T50" fmla="*/ 35 w 176"/>
                      <a:gd name="T51" fmla="*/ 14 h 117"/>
                      <a:gd name="T52" fmla="*/ 35 w 176"/>
                      <a:gd name="T53" fmla="*/ 79 h 117"/>
                      <a:gd name="T54" fmla="*/ 97 w 176"/>
                      <a:gd name="T55" fmla="*/ 107 h 117"/>
                      <a:gd name="T56" fmla="*/ 95 w 176"/>
                      <a:gd name="T57" fmla="*/ 105 h 117"/>
                      <a:gd name="T58" fmla="*/ 81 w 176"/>
                      <a:gd name="T59" fmla="*/ 105 h 117"/>
                      <a:gd name="T60" fmla="*/ 79 w 176"/>
                      <a:gd name="T61" fmla="*/ 107 h 117"/>
                      <a:gd name="T62" fmla="*/ 81 w 176"/>
                      <a:gd name="T63" fmla="*/ 108 h 117"/>
                      <a:gd name="T64" fmla="*/ 95 w 176"/>
                      <a:gd name="T65" fmla="*/ 108 h 117"/>
                      <a:gd name="T66" fmla="*/ 97 w 176"/>
                      <a:gd name="T6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17">
                        <a:moveTo>
                          <a:pt x="176" y="99"/>
                        </a:moveTo>
                        <a:cubicBezTo>
                          <a:pt x="176" y="108"/>
                          <a:pt x="176" y="108"/>
                          <a:pt x="176" y="108"/>
                        </a:cubicBezTo>
                        <a:cubicBezTo>
                          <a:pt x="176" y="113"/>
                          <a:pt x="169" y="117"/>
                          <a:pt x="161" y="117"/>
                        </a:cubicBezTo>
                        <a:cubicBezTo>
                          <a:pt x="15" y="117"/>
                          <a:pt x="15" y="117"/>
                          <a:pt x="15" y="117"/>
                        </a:cubicBezTo>
                        <a:cubicBezTo>
                          <a:pt x="7" y="117"/>
                          <a:pt x="0" y="113"/>
                          <a:pt x="0" y="108"/>
                        </a:cubicBezTo>
                        <a:cubicBezTo>
                          <a:pt x="0" y="99"/>
                          <a:pt x="0" y="99"/>
                          <a:pt x="0" y="99"/>
                        </a:cubicBezTo>
                        <a:cubicBezTo>
                          <a:pt x="15" y="99"/>
                          <a:pt x="15" y="99"/>
                          <a:pt x="15" y="99"/>
                        </a:cubicBezTo>
                        <a:cubicBezTo>
                          <a:pt x="161" y="99"/>
                          <a:pt x="161" y="99"/>
                          <a:pt x="161" y="99"/>
                        </a:cubicBezTo>
                        <a:lnTo>
                          <a:pt x="176" y="99"/>
                        </a:lnTo>
                        <a:close/>
                        <a:moveTo>
                          <a:pt x="24" y="79"/>
                        </a:moveTo>
                        <a:cubicBezTo>
                          <a:pt x="24" y="14"/>
                          <a:pt x="24" y="14"/>
                          <a:pt x="24" y="14"/>
                        </a:cubicBezTo>
                        <a:cubicBezTo>
                          <a:pt x="24" y="6"/>
                          <a:pt x="30" y="0"/>
                          <a:pt x="38" y="0"/>
                        </a:cubicBezTo>
                        <a:cubicBezTo>
                          <a:pt x="138" y="0"/>
                          <a:pt x="138" y="0"/>
                          <a:pt x="138" y="0"/>
                        </a:cubicBezTo>
                        <a:cubicBezTo>
                          <a:pt x="146" y="0"/>
                          <a:pt x="152" y="6"/>
                          <a:pt x="152" y="14"/>
                        </a:cubicBezTo>
                        <a:cubicBezTo>
                          <a:pt x="152" y="79"/>
                          <a:pt x="152" y="79"/>
                          <a:pt x="152" y="79"/>
                        </a:cubicBezTo>
                        <a:cubicBezTo>
                          <a:pt x="152" y="87"/>
                          <a:pt x="146" y="93"/>
                          <a:pt x="138" y="93"/>
                        </a:cubicBezTo>
                        <a:cubicBezTo>
                          <a:pt x="38" y="93"/>
                          <a:pt x="38" y="93"/>
                          <a:pt x="38" y="93"/>
                        </a:cubicBezTo>
                        <a:cubicBezTo>
                          <a:pt x="30" y="93"/>
                          <a:pt x="24" y="87"/>
                          <a:pt x="24" y="79"/>
                        </a:cubicBezTo>
                        <a:close/>
                        <a:moveTo>
                          <a:pt x="35" y="79"/>
                        </a:moveTo>
                        <a:cubicBezTo>
                          <a:pt x="35" y="80"/>
                          <a:pt x="37" y="82"/>
                          <a:pt x="38" y="82"/>
                        </a:cubicBezTo>
                        <a:cubicBezTo>
                          <a:pt x="138" y="82"/>
                          <a:pt x="138" y="82"/>
                          <a:pt x="138" y="82"/>
                        </a:cubicBezTo>
                        <a:cubicBezTo>
                          <a:pt x="139" y="82"/>
                          <a:pt x="141" y="80"/>
                          <a:pt x="141" y="79"/>
                        </a:cubicBezTo>
                        <a:cubicBezTo>
                          <a:pt x="141" y="14"/>
                          <a:pt x="141" y="14"/>
                          <a:pt x="141" y="14"/>
                        </a:cubicBezTo>
                        <a:cubicBezTo>
                          <a:pt x="141" y="13"/>
                          <a:pt x="139" y="11"/>
                          <a:pt x="138" y="11"/>
                        </a:cubicBezTo>
                        <a:cubicBezTo>
                          <a:pt x="38" y="11"/>
                          <a:pt x="38" y="11"/>
                          <a:pt x="38" y="11"/>
                        </a:cubicBezTo>
                        <a:cubicBezTo>
                          <a:pt x="37" y="11"/>
                          <a:pt x="35" y="13"/>
                          <a:pt x="35" y="14"/>
                        </a:cubicBezTo>
                        <a:lnTo>
                          <a:pt x="35" y="79"/>
                        </a:lnTo>
                        <a:close/>
                        <a:moveTo>
                          <a:pt x="97" y="107"/>
                        </a:moveTo>
                        <a:cubicBezTo>
                          <a:pt x="97" y="106"/>
                          <a:pt x="96" y="105"/>
                          <a:pt x="95" y="105"/>
                        </a:cubicBezTo>
                        <a:cubicBezTo>
                          <a:pt x="81" y="105"/>
                          <a:pt x="81" y="105"/>
                          <a:pt x="81" y="105"/>
                        </a:cubicBezTo>
                        <a:cubicBezTo>
                          <a:pt x="80" y="105"/>
                          <a:pt x="79" y="106"/>
                          <a:pt x="79" y="107"/>
                        </a:cubicBezTo>
                        <a:cubicBezTo>
                          <a:pt x="79" y="107"/>
                          <a:pt x="80" y="108"/>
                          <a:pt x="81" y="108"/>
                        </a:cubicBezTo>
                        <a:cubicBezTo>
                          <a:pt x="95" y="108"/>
                          <a:pt x="95" y="108"/>
                          <a:pt x="95" y="108"/>
                        </a:cubicBezTo>
                        <a:cubicBezTo>
                          <a:pt x="96" y="108"/>
                          <a:pt x="97" y="107"/>
                          <a:pt x="97" y="107"/>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56" name="Group 1"/>
                <p:cNvGrpSpPr/>
                <p:nvPr/>
              </p:nvGrpSpPr>
              <p:grpSpPr>
                <a:xfrm>
                  <a:off x="1079303" y="2259794"/>
                  <a:ext cx="470773" cy="467227"/>
                  <a:chOff x="1066082" y="1818668"/>
                  <a:chExt cx="465007" cy="467298"/>
                </a:xfrm>
              </p:grpSpPr>
              <p:sp>
                <p:nvSpPr>
                  <p:cNvPr id="57" name="Freeform 7"/>
                  <p:cNvSpPr>
                    <a:spLocks/>
                  </p:cNvSpPr>
                  <p:nvPr/>
                </p:nvSpPr>
                <p:spPr bwMode="auto">
                  <a:xfrm>
                    <a:off x="1066082" y="1818668"/>
                    <a:ext cx="465007" cy="467298"/>
                  </a:xfrm>
                  <a:custGeom>
                    <a:avLst/>
                    <a:gdLst>
                      <a:gd name="T0" fmla="*/ 102 w 203"/>
                      <a:gd name="T1" fmla="*/ 0 h 204"/>
                      <a:gd name="T2" fmla="*/ 129 w 203"/>
                      <a:gd name="T3" fmla="*/ 3 h 204"/>
                      <a:gd name="T4" fmla="*/ 153 w 203"/>
                      <a:gd name="T5" fmla="*/ 13 h 204"/>
                      <a:gd name="T6" fmla="*/ 174 w 203"/>
                      <a:gd name="T7" fmla="*/ 30 h 204"/>
                      <a:gd name="T8" fmla="*/ 190 w 203"/>
                      <a:gd name="T9" fmla="*/ 50 h 204"/>
                      <a:gd name="T10" fmla="*/ 200 w 203"/>
                      <a:gd name="T11" fmla="*/ 74 h 204"/>
                      <a:gd name="T12" fmla="*/ 203 w 203"/>
                      <a:gd name="T13" fmla="*/ 102 h 204"/>
                      <a:gd name="T14" fmla="*/ 200 w 203"/>
                      <a:gd name="T15" fmla="*/ 129 h 204"/>
                      <a:gd name="T16" fmla="*/ 190 w 203"/>
                      <a:gd name="T17" fmla="*/ 153 h 204"/>
                      <a:gd name="T18" fmla="*/ 174 w 203"/>
                      <a:gd name="T19" fmla="*/ 174 h 204"/>
                      <a:gd name="T20" fmla="*/ 153 w 203"/>
                      <a:gd name="T21" fmla="*/ 190 h 204"/>
                      <a:gd name="T22" fmla="*/ 129 w 203"/>
                      <a:gd name="T23" fmla="*/ 201 h 204"/>
                      <a:gd name="T24" fmla="*/ 102 w 203"/>
                      <a:gd name="T25" fmla="*/ 204 h 204"/>
                      <a:gd name="T26" fmla="*/ 74 w 203"/>
                      <a:gd name="T27" fmla="*/ 201 h 204"/>
                      <a:gd name="T28" fmla="*/ 50 w 203"/>
                      <a:gd name="T29" fmla="*/ 190 h 204"/>
                      <a:gd name="T30" fmla="*/ 30 w 203"/>
                      <a:gd name="T31" fmla="*/ 174 h 204"/>
                      <a:gd name="T32" fmla="*/ 13 w 203"/>
                      <a:gd name="T33" fmla="*/ 153 h 204"/>
                      <a:gd name="T34" fmla="*/ 3 w 203"/>
                      <a:gd name="T35" fmla="*/ 129 h 204"/>
                      <a:gd name="T36" fmla="*/ 0 w 203"/>
                      <a:gd name="T37" fmla="*/ 102 h 204"/>
                      <a:gd name="T38" fmla="*/ 3 w 203"/>
                      <a:gd name="T39" fmla="*/ 74 h 204"/>
                      <a:gd name="T40" fmla="*/ 13 w 203"/>
                      <a:gd name="T41" fmla="*/ 50 h 204"/>
                      <a:gd name="T42" fmla="*/ 30 w 203"/>
                      <a:gd name="T43" fmla="*/ 30 h 204"/>
                      <a:gd name="T44" fmla="*/ 50 w 203"/>
                      <a:gd name="T45" fmla="*/ 13 h 204"/>
                      <a:gd name="T46" fmla="*/ 74 w 203"/>
                      <a:gd name="T47" fmla="*/ 3 h 204"/>
                      <a:gd name="T48" fmla="*/ 102 w 203"/>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4">
                        <a:moveTo>
                          <a:pt x="102" y="0"/>
                        </a:moveTo>
                        <a:lnTo>
                          <a:pt x="129" y="3"/>
                        </a:lnTo>
                        <a:lnTo>
                          <a:pt x="153" y="13"/>
                        </a:lnTo>
                        <a:lnTo>
                          <a:pt x="174" y="30"/>
                        </a:lnTo>
                        <a:lnTo>
                          <a:pt x="190" y="50"/>
                        </a:lnTo>
                        <a:lnTo>
                          <a:pt x="200" y="74"/>
                        </a:lnTo>
                        <a:lnTo>
                          <a:pt x="203" y="102"/>
                        </a:lnTo>
                        <a:lnTo>
                          <a:pt x="200" y="129"/>
                        </a:lnTo>
                        <a:lnTo>
                          <a:pt x="190" y="153"/>
                        </a:lnTo>
                        <a:lnTo>
                          <a:pt x="174" y="174"/>
                        </a:lnTo>
                        <a:lnTo>
                          <a:pt x="153" y="190"/>
                        </a:lnTo>
                        <a:lnTo>
                          <a:pt x="129" y="201"/>
                        </a:lnTo>
                        <a:lnTo>
                          <a:pt x="102" y="204"/>
                        </a:lnTo>
                        <a:lnTo>
                          <a:pt x="74" y="201"/>
                        </a:lnTo>
                        <a:lnTo>
                          <a:pt x="50" y="190"/>
                        </a:lnTo>
                        <a:lnTo>
                          <a:pt x="30" y="174"/>
                        </a:lnTo>
                        <a:lnTo>
                          <a:pt x="13" y="153"/>
                        </a:lnTo>
                        <a:lnTo>
                          <a:pt x="3" y="129"/>
                        </a:lnTo>
                        <a:lnTo>
                          <a:pt x="0" y="102"/>
                        </a:lnTo>
                        <a:lnTo>
                          <a:pt x="3" y="74"/>
                        </a:lnTo>
                        <a:lnTo>
                          <a:pt x="13" y="50"/>
                        </a:lnTo>
                        <a:lnTo>
                          <a:pt x="30" y="30"/>
                        </a:lnTo>
                        <a:lnTo>
                          <a:pt x="50" y="13"/>
                        </a:lnTo>
                        <a:lnTo>
                          <a:pt x="74" y="3"/>
                        </a:lnTo>
                        <a:lnTo>
                          <a:pt x="102" y="0"/>
                        </a:lnTo>
                        <a:close/>
                      </a:path>
                    </a:pathLst>
                  </a:custGeom>
                  <a:solidFill>
                    <a:schemeClr val="bg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58" name="Freeform 7"/>
                  <p:cNvSpPr>
                    <a:spLocks noEditPoints="1"/>
                  </p:cNvSpPr>
                  <p:nvPr/>
                </p:nvSpPr>
                <p:spPr bwMode="auto">
                  <a:xfrm>
                    <a:off x="1145360" y="1919614"/>
                    <a:ext cx="299574" cy="277578"/>
                  </a:xfrm>
                  <a:custGeom>
                    <a:avLst/>
                    <a:gdLst>
                      <a:gd name="T0" fmla="*/ 31 w 177"/>
                      <a:gd name="T1" fmla="*/ 94 h 164"/>
                      <a:gd name="T2" fmla="*/ 19 w 177"/>
                      <a:gd name="T3" fmla="*/ 94 h 164"/>
                      <a:gd name="T4" fmla="*/ 1 w 177"/>
                      <a:gd name="T5" fmla="*/ 79 h 164"/>
                      <a:gd name="T6" fmla="*/ 12 w 177"/>
                      <a:gd name="T7" fmla="*/ 47 h 164"/>
                      <a:gd name="T8" fmla="*/ 36 w 177"/>
                      <a:gd name="T9" fmla="*/ 55 h 164"/>
                      <a:gd name="T10" fmla="*/ 48 w 177"/>
                      <a:gd name="T11" fmla="*/ 52 h 164"/>
                      <a:gd name="T12" fmla="*/ 48 w 177"/>
                      <a:gd name="T13" fmla="*/ 59 h 164"/>
                      <a:gd name="T14" fmla="*/ 55 w 177"/>
                      <a:gd name="T15" fmla="*/ 82 h 164"/>
                      <a:gd name="T16" fmla="*/ 31 w 177"/>
                      <a:gd name="T17" fmla="*/ 94 h 164"/>
                      <a:gd name="T18" fmla="*/ 36 w 177"/>
                      <a:gd name="T19" fmla="*/ 47 h 164"/>
                      <a:gd name="T20" fmla="*/ 12 w 177"/>
                      <a:gd name="T21" fmla="*/ 23 h 164"/>
                      <a:gd name="T22" fmla="*/ 36 w 177"/>
                      <a:gd name="T23" fmla="*/ 0 h 164"/>
                      <a:gd name="T24" fmla="*/ 59 w 177"/>
                      <a:gd name="T25" fmla="*/ 23 h 164"/>
                      <a:gd name="T26" fmla="*/ 36 w 177"/>
                      <a:gd name="T27" fmla="*/ 47 h 164"/>
                      <a:gd name="T28" fmla="*/ 129 w 177"/>
                      <a:gd name="T29" fmla="*/ 164 h 164"/>
                      <a:gd name="T30" fmla="*/ 49 w 177"/>
                      <a:gd name="T31" fmla="*/ 164 h 164"/>
                      <a:gd name="T32" fmla="*/ 24 w 177"/>
                      <a:gd name="T33" fmla="*/ 140 h 164"/>
                      <a:gd name="T34" fmla="*/ 56 w 177"/>
                      <a:gd name="T35" fmla="*/ 88 h 164"/>
                      <a:gd name="T36" fmla="*/ 89 w 177"/>
                      <a:gd name="T37" fmla="*/ 101 h 164"/>
                      <a:gd name="T38" fmla="*/ 121 w 177"/>
                      <a:gd name="T39" fmla="*/ 88 h 164"/>
                      <a:gd name="T40" fmla="*/ 153 w 177"/>
                      <a:gd name="T41" fmla="*/ 140 h 164"/>
                      <a:gd name="T42" fmla="*/ 129 w 177"/>
                      <a:gd name="T43" fmla="*/ 164 h 164"/>
                      <a:gd name="T44" fmla="*/ 89 w 177"/>
                      <a:gd name="T45" fmla="*/ 94 h 164"/>
                      <a:gd name="T46" fmla="*/ 53 w 177"/>
                      <a:gd name="T47" fmla="*/ 59 h 164"/>
                      <a:gd name="T48" fmla="*/ 89 w 177"/>
                      <a:gd name="T49" fmla="*/ 23 h 164"/>
                      <a:gd name="T50" fmla="*/ 124 w 177"/>
                      <a:gd name="T51" fmla="*/ 59 h 164"/>
                      <a:gd name="T52" fmla="*/ 89 w 177"/>
                      <a:gd name="T53" fmla="*/ 94 h 164"/>
                      <a:gd name="T54" fmla="*/ 141 w 177"/>
                      <a:gd name="T55" fmla="*/ 47 h 164"/>
                      <a:gd name="T56" fmla="*/ 118 w 177"/>
                      <a:gd name="T57" fmla="*/ 23 h 164"/>
                      <a:gd name="T58" fmla="*/ 141 w 177"/>
                      <a:gd name="T59" fmla="*/ 0 h 164"/>
                      <a:gd name="T60" fmla="*/ 165 w 177"/>
                      <a:gd name="T61" fmla="*/ 23 h 164"/>
                      <a:gd name="T62" fmla="*/ 141 w 177"/>
                      <a:gd name="T63" fmla="*/ 47 h 164"/>
                      <a:gd name="T64" fmla="*/ 159 w 177"/>
                      <a:gd name="T65" fmla="*/ 94 h 164"/>
                      <a:gd name="T66" fmla="*/ 146 w 177"/>
                      <a:gd name="T67" fmla="*/ 94 h 164"/>
                      <a:gd name="T68" fmla="*/ 122 w 177"/>
                      <a:gd name="T69" fmla="*/ 82 h 164"/>
                      <a:gd name="T70" fmla="*/ 130 w 177"/>
                      <a:gd name="T71" fmla="*/ 59 h 164"/>
                      <a:gd name="T72" fmla="*/ 129 w 177"/>
                      <a:gd name="T73" fmla="*/ 52 h 164"/>
                      <a:gd name="T74" fmla="*/ 141 w 177"/>
                      <a:gd name="T75" fmla="*/ 55 h 164"/>
                      <a:gd name="T76" fmla="*/ 165 w 177"/>
                      <a:gd name="T77" fmla="*/ 47 h 164"/>
                      <a:gd name="T78" fmla="*/ 177 w 177"/>
                      <a:gd name="T79" fmla="*/ 79 h 164"/>
                      <a:gd name="T80" fmla="*/ 159 w 177"/>
                      <a:gd name="T81" fmla="*/ 9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7" h="164">
                        <a:moveTo>
                          <a:pt x="31" y="94"/>
                        </a:moveTo>
                        <a:cubicBezTo>
                          <a:pt x="19" y="94"/>
                          <a:pt x="19" y="94"/>
                          <a:pt x="19" y="94"/>
                        </a:cubicBezTo>
                        <a:cubicBezTo>
                          <a:pt x="9" y="94"/>
                          <a:pt x="1" y="89"/>
                          <a:pt x="1" y="79"/>
                        </a:cubicBezTo>
                        <a:cubicBezTo>
                          <a:pt x="1" y="72"/>
                          <a:pt x="0" y="47"/>
                          <a:pt x="12" y="47"/>
                        </a:cubicBezTo>
                        <a:cubicBezTo>
                          <a:pt x="14" y="47"/>
                          <a:pt x="24" y="55"/>
                          <a:pt x="36" y="55"/>
                        </a:cubicBezTo>
                        <a:cubicBezTo>
                          <a:pt x="40" y="55"/>
                          <a:pt x="44" y="54"/>
                          <a:pt x="48" y="52"/>
                        </a:cubicBezTo>
                        <a:cubicBezTo>
                          <a:pt x="48" y="54"/>
                          <a:pt x="48" y="57"/>
                          <a:pt x="48" y="59"/>
                        </a:cubicBezTo>
                        <a:cubicBezTo>
                          <a:pt x="48" y="67"/>
                          <a:pt x="50" y="75"/>
                          <a:pt x="55" y="82"/>
                        </a:cubicBezTo>
                        <a:cubicBezTo>
                          <a:pt x="46" y="82"/>
                          <a:pt x="37" y="86"/>
                          <a:pt x="31" y="94"/>
                        </a:cubicBezTo>
                        <a:close/>
                        <a:moveTo>
                          <a:pt x="36" y="47"/>
                        </a:moveTo>
                        <a:cubicBezTo>
                          <a:pt x="23" y="47"/>
                          <a:pt x="12" y="36"/>
                          <a:pt x="12" y="23"/>
                        </a:cubicBezTo>
                        <a:cubicBezTo>
                          <a:pt x="12" y="10"/>
                          <a:pt x="23" y="0"/>
                          <a:pt x="36" y="0"/>
                        </a:cubicBezTo>
                        <a:cubicBezTo>
                          <a:pt x="49" y="0"/>
                          <a:pt x="59" y="10"/>
                          <a:pt x="59" y="23"/>
                        </a:cubicBezTo>
                        <a:cubicBezTo>
                          <a:pt x="59" y="36"/>
                          <a:pt x="49" y="47"/>
                          <a:pt x="36" y="47"/>
                        </a:cubicBezTo>
                        <a:close/>
                        <a:moveTo>
                          <a:pt x="129" y="164"/>
                        </a:moveTo>
                        <a:cubicBezTo>
                          <a:pt x="49" y="164"/>
                          <a:pt x="49" y="164"/>
                          <a:pt x="49" y="164"/>
                        </a:cubicBezTo>
                        <a:cubicBezTo>
                          <a:pt x="34" y="164"/>
                          <a:pt x="24" y="155"/>
                          <a:pt x="24" y="140"/>
                        </a:cubicBezTo>
                        <a:cubicBezTo>
                          <a:pt x="24" y="120"/>
                          <a:pt x="29" y="88"/>
                          <a:pt x="56" y="88"/>
                        </a:cubicBezTo>
                        <a:cubicBezTo>
                          <a:pt x="59" y="88"/>
                          <a:pt x="70" y="101"/>
                          <a:pt x="89" y="101"/>
                        </a:cubicBezTo>
                        <a:cubicBezTo>
                          <a:pt x="107" y="101"/>
                          <a:pt x="118" y="88"/>
                          <a:pt x="121" y="88"/>
                        </a:cubicBezTo>
                        <a:cubicBezTo>
                          <a:pt x="148" y="88"/>
                          <a:pt x="153" y="120"/>
                          <a:pt x="153" y="140"/>
                        </a:cubicBezTo>
                        <a:cubicBezTo>
                          <a:pt x="153" y="155"/>
                          <a:pt x="143" y="164"/>
                          <a:pt x="129" y="164"/>
                        </a:cubicBezTo>
                        <a:close/>
                        <a:moveTo>
                          <a:pt x="89" y="94"/>
                        </a:moveTo>
                        <a:cubicBezTo>
                          <a:pt x="69" y="94"/>
                          <a:pt x="53" y="78"/>
                          <a:pt x="53" y="59"/>
                        </a:cubicBezTo>
                        <a:cubicBezTo>
                          <a:pt x="53" y="39"/>
                          <a:pt x="69" y="23"/>
                          <a:pt x="89" y="23"/>
                        </a:cubicBezTo>
                        <a:cubicBezTo>
                          <a:pt x="108" y="23"/>
                          <a:pt x="124" y="39"/>
                          <a:pt x="124" y="59"/>
                        </a:cubicBezTo>
                        <a:cubicBezTo>
                          <a:pt x="124" y="78"/>
                          <a:pt x="108" y="94"/>
                          <a:pt x="89" y="94"/>
                        </a:cubicBezTo>
                        <a:close/>
                        <a:moveTo>
                          <a:pt x="141" y="47"/>
                        </a:moveTo>
                        <a:cubicBezTo>
                          <a:pt x="128" y="47"/>
                          <a:pt x="118" y="36"/>
                          <a:pt x="118" y="23"/>
                        </a:cubicBezTo>
                        <a:cubicBezTo>
                          <a:pt x="118" y="10"/>
                          <a:pt x="128" y="0"/>
                          <a:pt x="141" y="0"/>
                        </a:cubicBezTo>
                        <a:cubicBezTo>
                          <a:pt x="154" y="0"/>
                          <a:pt x="165" y="10"/>
                          <a:pt x="165" y="23"/>
                        </a:cubicBezTo>
                        <a:cubicBezTo>
                          <a:pt x="165" y="36"/>
                          <a:pt x="154" y="47"/>
                          <a:pt x="141" y="47"/>
                        </a:cubicBezTo>
                        <a:close/>
                        <a:moveTo>
                          <a:pt x="159" y="94"/>
                        </a:moveTo>
                        <a:cubicBezTo>
                          <a:pt x="146" y="94"/>
                          <a:pt x="146" y="94"/>
                          <a:pt x="146" y="94"/>
                        </a:cubicBezTo>
                        <a:cubicBezTo>
                          <a:pt x="140" y="86"/>
                          <a:pt x="132" y="82"/>
                          <a:pt x="122" y="82"/>
                        </a:cubicBezTo>
                        <a:cubicBezTo>
                          <a:pt x="127" y="75"/>
                          <a:pt x="130" y="67"/>
                          <a:pt x="130" y="59"/>
                        </a:cubicBezTo>
                        <a:cubicBezTo>
                          <a:pt x="130" y="57"/>
                          <a:pt x="129" y="54"/>
                          <a:pt x="129" y="52"/>
                        </a:cubicBezTo>
                        <a:cubicBezTo>
                          <a:pt x="133" y="54"/>
                          <a:pt x="137" y="55"/>
                          <a:pt x="141" y="55"/>
                        </a:cubicBezTo>
                        <a:cubicBezTo>
                          <a:pt x="154" y="55"/>
                          <a:pt x="163" y="47"/>
                          <a:pt x="165" y="47"/>
                        </a:cubicBezTo>
                        <a:cubicBezTo>
                          <a:pt x="177" y="47"/>
                          <a:pt x="177" y="72"/>
                          <a:pt x="177" y="79"/>
                        </a:cubicBezTo>
                        <a:cubicBezTo>
                          <a:pt x="177" y="89"/>
                          <a:pt x="168" y="94"/>
                          <a:pt x="159" y="94"/>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59" name="Group 2"/>
                <p:cNvGrpSpPr/>
                <p:nvPr/>
              </p:nvGrpSpPr>
              <p:grpSpPr>
                <a:xfrm>
                  <a:off x="3680984" y="2266256"/>
                  <a:ext cx="470773" cy="464935"/>
                  <a:chOff x="3635896" y="1825130"/>
                  <a:chExt cx="465007" cy="465007"/>
                </a:xfrm>
              </p:grpSpPr>
              <p:sp>
                <p:nvSpPr>
                  <p:cNvPr id="60" name="Freeform 8"/>
                  <p:cNvSpPr>
                    <a:spLocks/>
                  </p:cNvSpPr>
                  <p:nvPr/>
                </p:nvSpPr>
                <p:spPr bwMode="auto">
                  <a:xfrm>
                    <a:off x="3635896" y="1825130"/>
                    <a:ext cx="465007" cy="465007"/>
                  </a:xfrm>
                  <a:custGeom>
                    <a:avLst/>
                    <a:gdLst>
                      <a:gd name="T0" fmla="*/ 101 w 203"/>
                      <a:gd name="T1" fmla="*/ 0 h 203"/>
                      <a:gd name="T2" fmla="*/ 129 w 203"/>
                      <a:gd name="T3" fmla="*/ 2 h 203"/>
                      <a:gd name="T4" fmla="*/ 153 w 203"/>
                      <a:gd name="T5" fmla="*/ 13 h 203"/>
                      <a:gd name="T6" fmla="*/ 173 w 203"/>
                      <a:gd name="T7" fmla="*/ 29 h 203"/>
                      <a:gd name="T8" fmla="*/ 190 w 203"/>
                      <a:gd name="T9" fmla="*/ 50 h 203"/>
                      <a:gd name="T10" fmla="*/ 200 w 203"/>
                      <a:gd name="T11" fmla="*/ 74 h 203"/>
                      <a:gd name="T12" fmla="*/ 203 w 203"/>
                      <a:gd name="T13" fmla="*/ 101 h 203"/>
                      <a:gd name="T14" fmla="*/ 200 w 203"/>
                      <a:gd name="T15" fmla="*/ 129 h 203"/>
                      <a:gd name="T16" fmla="*/ 190 w 203"/>
                      <a:gd name="T17" fmla="*/ 153 h 203"/>
                      <a:gd name="T18" fmla="*/ 173 w 203"/>
                      <a:gd name="T19" fmla="*/ 174 h 203"/>
                      <a:gd name="T20" fmla="*/ 153 w 203"/>
                      <a:gd name="T21" fmla="*/ 190 h 203"/>
                      <a:gd name="T22" fmla="*/ 129 w 203"/>
                      <a:gd name="T23" fmla="*/ 200 h 203"/>
                      <a:gd name="T24" fmla="*/ 101 w 203"/>
                      <a:gd name="T25" fmla="*/ 203 h 203"/>
                      <a:gd name="T26" fmla="*/ 74 w 203"/>
                      <a:gd name="T27" fmla="*/ 200 h 203"/>
                      <a:gd name="T28" fmla="*/ 50 w 203"/>
                      <a:gd name="T29" fmla="*/ 190 h 203"/>
                      <a:gd name="T30" fmla="*/ 29 w 203"/>
                      <a:gd name="T31" fmla="*/ 174 h 203"/>
                      <a:gd name="T32" fmla="*/ 13 w 203"/>
                      <a:gd name="T33" fmla="*/ 153 h 203"/>
                      <a:gd name="T34" fmla="*/ 3 w 203"/>
                      <a:gd name="T35" fmla="*/ 129 h 203"/>
                      <a:gd name="T36" fmla="*/ 0 w 203"/>
                      <a:gd name="T37" fmla="*/ 101 h 203"/>
                      <a:gd name="T38" fmla="*/ 3 w 203"/>
                      <a:gd name="T39" fmla="*/ 74 h 203"/>
                      <a:gd name="T40" fmla="*/ 13 w 203"/>
                      <a:gd name="T41" fmla="*/ 50 h 203"/>
                      <a:gd name="T42" fmla="*/ 29 w 203"/>
                      <a:gd name="T43" fmla="*/ 29 h 203"/>
                      <a:gd name="T44" fmla="*/ 50 w 203"/>
                      <a:gd name="T45" fmla="*/ 13 h 203"/>
                      <a:gd name="T46" fmla="*/ 74 w 203"/>
                      <a:gd name="T47" fmla="*/ 2 h 203"/>
                      <a:gd name="T48" fmla="*/ 101 w 203"/>
                      <a:gd name="T4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3">
                        <a:moveTo>
                          <a:pt x="101" y="0"/>
                        </a:moveTo>
                        <a:lnTo>
                          <a:pt x="129" y="2"/>
                        </a:lnTo>
                        <a:lnTo>
                          <a:pt x="153" y="13"/>
                        </a:lnTo>
                        <a:lnTo>
                          <a:pt x="173" y="29"/>
                        </a:lnTo>
                        <a:lnTo>
                          <a:pt x="190" y="50"/>
                        </a:lnTo>
                        <a:lnTo>
                          <a:pt x="200" y="74"/>
                        </a:lnTo>
                        <a:lnTo>
                          <a:pt x="203" y="101"/>
                        </a:lnTo>
                        <a:lnTo>
                          <a:pt x="200" y="129"/>
                        </a:lnTo>
                        <a:lnTo>
                          <a:pt x="190" y="153"/>
                        </a:lnTo>
                        <a:lnTo>
                          <a:pt x="173" y="174"/>
                        </a:lnTo>
                        <a:lnTo>
                          <a:pt x="153" y="190"/>
                        </a:lnTo>
                        <a:lnTo>
                          <a:pt x="129" y="200"/>
                        </a:lnTo>
                        <a:lnTo>
                          <a:pt x="101" y="203"/>
                        </a:lnTo>
                        <a:lnTo>
                          <a:pt x="74" y="200"/>
                        </a:lnTo>
                        <a:lnTo>
                          <a:pt x="50" y="190"/>
                        </a:lnTo>
                        <a:lnTo>
                          <a:pt x="29" y="174"/>
                        </a:lnTo>
                        <a:lnTo>
                          <a:pt x="13" y="153"/>
                        </a:lnTo>
                        <a:lnTo>
                          <a:pt x="3" y="129"/>
                        </a:lnTo>
                        <a:lnTo>
                          <a:pt x="0" y="101"/>
                        </a:lnTo>
                        <a:lnTo>
                          <a:pt x="3" y="74"/>
                        </a:lnTo>
                        <a:lnTo>
                          <a:pt x="13" y="50"/>
                        </a:lnTo>
                        <a:lnTo>
                          <a:pt x="29" y="29"/>
                        </a:lnTo>
                        <a:lnTo>
                          <a:pt x="50" y="13"/>
                        </a:lnTo>
                        <a:lnTo>
                          <a:pt x="74" y="2"/>
                        </a:lnTo>
                        <a:lnTo>
                          <a:pt x="101" y="0"/>
                        </a:lnTo>
                        <a:close/>
                      </a:path>
                    </a:pathLst>
                  </a:custGeom>
                  <a:solidFill>
                    <a:schemeClr val="tx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61" name="Freeform 8"/>
                  <p:cNvSpPr>
                    <a:spLocks noEditPoints="1"/>
                  </p:cNvSpPr>
                  <p:nvPr/>
                </p:nvSpPr>
                <p:spPr bwMode="auto">
                  <a:xfrm>
                    <a:off x="3788568" y="1901620"/>
                    <a:ext cx="201914" cy="300866"/>
                  </a:xfrm>
                  <a:custGeom>
                    <a:avLst/>
                    <a:gdLst>
                      <a:gd name="T0" fmla="*/ 85 w 94"/>
                      <a:gd name="T1" fmla="*/ 44 h 140"/>
                      <a:gd name="T2" fmla="*/ 45 w 94"/>
                      <a:gd name="T3" fmla="*/ 90 h 140"/>
                      <a:gd name="T4" fmla="*/ 26 w 94"/>
                      <a:gd name="T5" fmla="*/ 105 h 140"/>
                      <a:gd name="T6" fmla="*/ 26 w 94"/>
                      <a:gd name="T7" fmla="*/ 108 h 140"/>
                      <a:gd name="T8" fmla="*/ 35 w 94"/>
                      <a:gd name="T9" fmla="*/ 123 h 140"/>
                      <a:gd name="T10" fmla="*/ 17 w 94"/>
                      <a:gd name="T11" fmla="*/ 140 h 140"/>
                      <a:gd name="T12" fmla="*/ 0 w 94"/>
                      <a:gd name="T13" fmla="*/ 123 h 140"/>
                      <a:gd name="T14" fmla="*/ 9 w 94"/>
                      <a:gd name="T15" fmla="*/ 108 h 140"/>
                      <a:gd name="T16" fmla="*/ 9 w 94"/>
                      <a:gd name="T17" fmla="*/ 33 h 140"/>
                      <a:gd name="T18" fmla="*/ 0 w 94"/>
                      <a:gd name="T19" fmla="*/ 17 h 140"/>
                      <a:gd name="T20" fmla="*/ 17 w 94"/>
                      <a:gd name="T21" fmla="*/ 0 h 140"/>
                      <a:gd name="T22" fmla="*/ 35 w 94"/>
                      <a:gd name="T23" fmla="*/ 17 h 140"/>
                      <a:gd name="T24" fmla="*/ 26 w 94"/>
                      <a:gd name="T25" fmla="*/ 33 h 140"/>
                      <a:gd name="T26" fmla="*/ 26 w 94"/>
                      <a:gd name="T27" fmla="*/ 78 h 140"/>
                      <a:gd name="T28" fmla="*/ 40 w 94"/>
                      <a:gd name="T29" fmla="*/ 73 h 140"/>
                      <a:gd name="T30" fmla="*/ 67 w 94"/>
                      <a:gd name="T31" fmla="*/ 44 h 140"/>
                      <a:gd name="T32" fmla="*/ 58 w 94"/>
                      <a:gd name="T33" fmla="*/ 29 h 140"/>
                      <a:gd name="T34" fmla="*/ 76 w 94"/>
                      <a:gd name="T35" fmla="*/ 11 h 140"/>
                      <a:gd name="T36" fmla="*/ 94 w 94"/>
                      <a:gd name="T37" fmla="*/ 29 h 140"/>
                      <a:gd name="T38" fmla="*/ 85 w 94"/>
                      <a:gd name="T39" fmla="*/ 44 h 140"/>
                      <a:gd name="T40" fmla="*/ 17 w 94"/>
                      <a:gd name="T41" fmla="*/ 9 h 140"/>
                      <a:gd name="T42" fmla="*/ 9 w 94"/>
                      <a:gd name="T43" fmla="*/ 17 h 140"/>
                      <a:gd name="T44" fmla="*/ 17 w 94"/>
                      <a:gd name="T45" fmla="*/ 26 h 140"/>
                      <a:gd name="T46" fmla="*/ 26 w 94"/>
                      <a:gd name="T47" fmla="*/ 17 h 140"/>
                      <a:gd name="T48" fmla="*/ 17 w 94"/>
                      <a:gd name="T49" fmla="*/ 9 h 140"/>
                      <a:gd name="T50" fmla="*/ 17 w 94"/>
                      <a:gd name="T51" fmla="*/ 114 h 140"/>
                      <a:gd name="T52" fmla="*/ 9 w 94"/>
                      <a:gd name="T53" fmla="*/ 123 h 140"/>
                      <a:gd name="T54" fmla="*/ 17 w 94"/>
                      <a:gd name="T55" fmla="*/ 132 h 140"/>
                      <a:gd name="T56" fmla="*/ 26 w 94"/>
                      <a:gd name="T57" fmla="*/ 123 h 140"/>
                      <a:gd name="T58" fmla="*/ 17 w 94"/>
                      <a:gd name="T59" fmla="*/ 114 h 140"/>
                      <a:gd name="T60" fmla="*/ 76 w 94"/>
                      <a:gd name="T61" fmla="*/ 20 h 140"/>
                      <a:gd name="T62" fmla="*/ 67 w 94"/>
                      <a:gd name="T63" fmla="*/ 29 h 140"/>
                      <a:gd name="T64" fmla="*/ 76 w 94"/>
                      <a:gd name="T65" fmla="*/ 38 h 140"/>
                      <a:gd name="T66" fmla="*/ 85 w 94"/>
                      <a:gd name="T67" fmla="*/ 29 h 140"/>
                      <a:gd name="T68" fmla="*/ 76 w 94"/>
                      <a:gd name="T69" fmla="*/ 2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140">
                        <a:moveTo>
                          <a:pt x="85" y="44"/>
                        </a:moveTo>
                        <a:cubicBezTo>
                          <a:pt x="84" y="77"/>
                          <a:pt x="61" y="85"/>
                          <a:pt x="45" y="90"/>
                        </a:cubicBezTo>
                        <a:cubicBezTo>
                          <a:pt x="31" y="94"/>
                          <a:pt x="26" y="96"/>
                          <a:pt x="26" y="105"/>
                        </a:cubicBezTo>
                        <a:cubicBezTo>
                          <a:pt x="26" y="108"/>
                          <a:pt x="26" y="108"/>
                          <a:pt x="26" y="108"/>
                        </a:cubicBezTo>
                        <a:cubicBezTo>
                          <a:pt x="31" y="111"/>
                          <a:pt x="35" y="116"/>
                          <a:pt x="35" y="123"/>
                        </a:cubicBezTo>
                        <a:cubicBezTo>
                          <a:pt x="35" y="132"/>
                          <a:pt x="27" y="140"/>
                          <a:pt x="17" y="140"/>
                        </a:cubicBezTo>
                        <a:cubicBezTo>
                          <a:pt x="8" y="140"/>
                          <a:pt x="0" y="132"/>
                          <a:pt x="0" y="123"/>
                        </a:cubicBezTo>
                        <a:cubicBezTo>
                          <a:pt x="0" y="116"/>
                          <a:pt x="3" y="111"/>
                          <a:pt x="9" y="108"/>
                        </a:cubicBezTo>
                        <a:cubicBezTo>
                          <a:pt x="9" y="33"/>
                          <a:pt x="9" y="33"/>
                          <a:pt x="9" y="33"/>
                        </a:cubicBezTo>
                        <a:cubicBezTo>
                          <a:pt x="3" y="29"/>
                          <a:pt x="0" y="24"/>
                          <a:pt x="0" y="17"/>
                        </a:cubicBezTo>
                        <a:cubicBezTo>
                          <a:pt x="0" y="8"/>
                          <a:pt x="8" y="0"/>
                          <a:pt x="17" y="0"/>
                        </a:cubicBezTo>
                        <a:cubicBezTo>
                          <a:pt x="27" y="0"/>
                          <a:pt x="35" y="8"/>
                          <a:pt x="35" y="17"/>
                        </a:cubicBezTo>
                        <a:cubicBezTo>
                          <a:pt x="35" y="24"/>
                          <a:pt x="31" y="29"/>
                          <a:pt x="26" y="33"/>
                        </a:cubicBezTo>
                        <a:cubicBezTo>
                          <a:pt x="26" y="78"/>
                          <a:pt x="26" y="78"/>
                          <a:pt x="26" y="78"/>
                        </a:cubicBezTo>
                        <a:cubicBezTo>
                          <a:pt x="31" y="76"/>
                          <a:pt x="36" y="74"/>
                          <a:pt x="40" y="73"/>
                        </a:cubicBezTo>
                        <a:cubicBezTo>
                          <a:pt x="57" y="67"/>
                          <a:pt x="67" y="63"/>
                          <a:pt x="67" y="44"/>
                        </a:cubicBezTo>
                        <a:cubicBezTo>
                          <a:pt x="62" y="41"/>
                          <a:pt x="58" y="36"/>
                          <a:pt x="58" y="29"/>
                        </a:cubicBezTo>
                        <a:cubicBezTo>
                          <a:pt x="58" y="19"/>
                          <a:pt x="66" y="11"/>
                          <a:pt x="76" y="11"/>
                        </a:cubicBezTo>
                        <a:cubicBezTo>
                          <a:pt x="86" y="11"/>
                          <a:pt x="94" y="19"/>
                          <a:pt x="94" y="29"/>
                        </a:cubicBezTo>
                        <a:cubicBezTo>
                          <a:pt x="94" y="36"/>
                          <a:pt x="90" y="41"/>
                          <a:pt x="85" y="44"/>
                        </a:cubicBezTo>
                        <a:close/>
                        <a:moveTo>
                          <a:pt x="17" y="9"/>
                        </a:moveTo>
                        <a:cubicBezTo>
                          <a:pt x="13" y="9"/>
                          <a:pt x="9" y="12"/>
                          <a:pt x="9" y="17"/>
                        </a:cubicBezTo>
                        <a:cubicBezTo>
                          <a:pt x="9" y="22"/>
                          <a:pt x="13" y="26"/>
                          <a:pt x="17" y="26"/>
                        </a:cubicBezTo>
                        <a:cubicBezTo>
                          <a:pt x="22" y="26"/>
                          <a:pt x="26" y="22"/>
                          <a:pt x="26" y="17"/>
                        </a:cubicBezTo>
                        <a:cubicBezTo>
                          <a:pt x="26" y="12"/>
                          <a:pt x="22" y="9"/>
                          <a:pt x="17" y="9"/>
                        </a:cubicBezTo>
                        <a:close/>
                        <a:moveTo>
                          <a:pt x="17" y="114"/>
                        </a:moveTo>
                        <a:cubicBezTo>
                          <a:pt x="13" y="114"/>
                          <a:pt x="9" y="118"/>
                          <a:pt x="9" y="123"/>
                        </a:cubicBezTo>
                        <a:cubicBezTo>
                          <a:pt x="9" y="128"/>
                          <a:pt x="13" y="132"/>
                          <a:pt x="17" y="132"/>
                        </a:cubicBezTo>
                        <a:cubicBezTo>
                          <a:pt x="22" y="132"/>
                          <a:pt x="26" y="128"/>
                          <a:pt x="26" y="123"/>
                        </a:cubicBezTo>
                        <a:cubicBezTo>
                          <a:pt x="26" y="118"/>
                          <a:pt x="22" y="114"/>
                          <a:pt x="17" y="114"/>
                        </a:cubicBezTo>
                        <a:close/>
                        <a:moveTo>
                          <a:pt x="76" y="20"/>
                        </a:moveTo>
                        <a:cubicBezTo>
                          <a:pt x="71" y="20"/>
                          <a:pt x="67" y="24"/>
                          <a:pt x="67" y="29"/>
                        </a:cubicBezTo>
                        <a:cubicBezTo>
                          <a:pt x="67" y="34"/>
                          <a:pt x="71" y="38"/>
                          <a:pt x="76" y="38"/>
                        </a:cubicBezTo>
                        <a:cubicBezTo>
                          <a:pt x="81" y="38"/>
                          <a:pt x="85" y="34"/>
                          <a:pt x="85" y="29"/>
                        </a:cubicBezTo>
                        <a:cubicBezTo>
                          <a:pt x="85" y="24"/>
                          <a:pt x="81" y="20"/>
                          <a:pt x="76" y="20"/>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65" name="Group 3"/>
                <p:cNvGrpSpPr/>
                <p:nvPr/>
              </p:nvGrpSpPr>
              <p:grpSpPr>
                <a:xfrm>
                  <a:off x="4830076" y="3531854"/>
                  <a:ext cx="470773" cy="469518"/>
                  <a:chOff x="4770914" y="3090921"/>
                  <a:chExt cx="465007" cy="469589"/>
                </a:xfrm>
              </p:grpSpPr>
              <p:sp>
                <p:nvSpPr>
                  <p:cNvPr id="66" name="Freeform 9"/>
                  <p:cNvSpPr>
                    <a:spLocks/>
                  </p:cNvSpPr>
                  <p:nvPr/>
                </p:nvSpPr>
                <p:spPr bwMode="auto">
                  <a:xfrm>
                    <a:off x="4770914" y="3090921"/>
                    <a:ext cx="465007" cy="469589"/>
                  </a:xfrm>
                  <a:custGeom>
                    <a:avLst/>
                    <a:gdLst>
                      <a:gd name="T0" fmla="*/ 102 w 203"/>
                      <a:gd name="T1" fmla="*/ 0 h 205"/>
                      <a:gd name="T2" fmla="*/ 129 w 203"/>
                      <a:gd name="T3" fmla="*/ 4 h 205"/>
                      <a:gd name="T4" fmla="*/ 153 w 203"/>
                      <a:gd name="T5" fmla="*/ 14 h 205"/>
                      <a:gd name="T6" fmla="*/ 174 w 203"/>
                      <a:gd name="T7" fmla="*/ 29 h 205"/>
                      <a:gd name="T8" fmla="*/ 190 w 203"/>
                      <a:gd name="T9" fmla="*/ 50 h 205"/>
                      <a:gd name="T10" fmla="*/ 200 w 203"/>
                      <a:gd name="T11" fmla="*/ 75 h 205"/>
                      <a:gd name="T12" fmla="*/ 203 w 203"/>
                      <a:gd name="T13" fmla="*/ 102 h 205"/>
                      <a:gd name="T14" fmla="*/ 200 w 203"/>
                      <a:gd name="T15" fmla="*/ 129 h 205"/>
                      <a:gd name="T16" fmla="*/ 190 w 203"/>
                      <a:gd name="T17" fmla="*/ 154 h 205"/>
                      <a:gd name="T18" fmla="*/ 174 w 203"/>
                      <a:gd name="T19" fmla="*/ 174 h 205"/>
                      <a:gd name="T20" fmla="*/ 153 w 203"/>
                      <a:gd name="T21" fmla="*/ 190 h 205"/>
                      <a:gd name="T22" fmla="*/ 129 w 203"/>
                      <a:gd name="T23" fmla="*/ 200 h 205"/>
                      <a:gd name="T24" fmla="*/ 102 w 203"/>
                      <a:gd name="T25" fmla="*/ 205 h 205"/>
                      <a:gd name="T26" fmla="*/ 76 w 203"/>
                      <a:gd name="T27" fmla="*/ 200 h 205"/>
                      <a:gd name="T28" fmla="*/ 50 w 203"/>
                      <a:gd name="T29" fmla="*/ 190 h 205"/>
                      <a:gd name="T30" fmla="*/ 29 w 203"/>
                      <a:gd name="T31" fmla="*/ 174 h 205"/>
                      <a:gd name="T32" fmla="*/ 15 w 203"/>
                      <a:gd name="T33" fmla="*/ 154 h 205"/>
                      <a:gd name="T34" fmla="*/ 4 w 203"/>
                      <a:gd name="T35" fmla="*/ 129 h 205"/>
                      <a:gd name="T36" fmla="*/ 0 w 203"/>
                      <a:gd name="T37" fmla="*/ 102 h 205"/>
                      <a:gd name="T38" fmla="*/ 4 w 203"/>
                      <a:gd name="T39" fmla="*/ 75 h 205"/>
                      <a:gd name="T40" fmla="*/ 15 w 203"/>
                      <a:gd name="T41" fmla="*/ 50 h 205"/>
                      <a:gd name="T42" fmla="*/ 29 w 203"/>
                      <a:gd name="T43" fmla="*/ 29 h 205"/>
                      <a:gd name="T44" fmla="*/ 50 w 203"/>
                      <a:gd name="T45" fmla="*/ 14 h 205"/>
                      <a:gd name="T46" fmla="*/ 76 w 203"/>
                      <a:gd name="T47" fmla="*/ 4 h 205"/>
                      <a:gd name="T48" fmla="*/ 102 w 203"/>
                      <a:gd name="T4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5">
                        <a:moveTo>
                          <a:pt x="102" y="0"/>
                        </a:moveTo>
                        <a:lnTo>
                          <a:pt x="129" y="4"/>
                        </a:lnTo>
                        <a:lnTo>
                          <a:pt x="153" y="14"/>
                        </a:lnTo>
                        <a:lnTo>
                          <a:pt x="174" y="29"/>
                        </a:lnTo>
                        <a:lnTo>
                          <a:pt x="190" y="50"/>
                        </a:lnTo>
                        <a:lnTo>
                          <a:pt x="200" y="75"/>
                        </a:lnTo>
                        <a:lnTo>
                          <a:pt x="203" y="102"/>
                        </a:lnTo>
                        <a:lnTo>
                          <a:pt x="200" y="129"/>
                        </a:lnTo>
                        <a:lnTo>
                          <a:pt x="190" y="154"/>
                        </a:lnTo>
                        <a:lnTo>
                          <a:pt x="174" y="174"/>
                        </a:lnTo>
                        <a:lnTo>
                          <a:pt x="153" y="190"/>
                        </a:lnTo>
                        <a:lnTo>
                          <a:pt x="129" y="200"/>
                        </a:lnTo>
                        <a:lnTo>
                          <a:pt x="102" y="205"/>
                        </a:lnTo>
                        <a:lnTo>
                          <a:pt x="76" y="200"/>
                        </a:lnTo>
                        <a:lnTo>
                          <a:pt x="50" y="190"/>
                        </a:lnTo>
                        <a:lnTo>
                          <a:pt x="29" y="174"/>
                        </a:lnTo>
                        <a:lnTo>
                          <a:pt x="15" y="154"/>
                        </a:lnTo>
                        <a:lnTo>
                          <a:pt x="4" y="129"/>
                        </a:lnTo>
                        <a:lnTo>
                          <a:pt x="0" y="102"/>
                        </a:lnTo>
                        <a:lnTo>
                          <a:pt x="4" y="75"/>
                        </a:lnTo>
                        <a:lnTo>
                          <a:pt x="15" y="50"/>
                        </a:lnTo>
                        <a:lnTo>
                          <a:pt x="29" y="29"/>
                        </a:lnTo>
                        <a:lnTo>
                          <a:pt x="50" y="14"/>
                        </a:lnTo>
                        <a:lnTo>
                          <a:pt x="76" y="4"/>
                        </a:lnTo>
                        <a:lnTo>
                          <a:pt x="102" y="0"/>
                        </a:lnTo>
                        <a:close/>
                      </a:path>
                    </a:pathLst>
                  </a:custGeom>
                  <a:solidFill>
                    <a:schemeClr val="bg2"/>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67" name="Freeform 10"/>
                  <p:cNvSpPr>
                    <a:spLocks noEditPoints="1"/>
                  </p:cNvSpPr>
                  <p:nvPr/>
                </p:nvSpPr>
                <p:spPr bwMode="auto">
                  <a:xfrm>
                    <a:off x="4870438" y="3218381"/>
                    <a:ext cx="260899" cy="203797"/>
                  </a:xfrm>
                  <a:custGeom>
                    <a:avLst/>
                    <a:gdLst>
                      <a:gd name="T0" fmla="*/ 164 w 164"/>
                      <a:gd name="T1" fmla="*/ 114 h 128"/>
                      <a:gd name="T2" fmla="*/ 149 w 164"/>
                      <a:gd name="T3" fmla="*/ 128 h 128"/>
                      <a:gd name="T4" fmla="*/ 15 w 164"/>
                      <a:gd name="T5" fmla="*/ 128 h 128"/>
                      <a:gd name="T6" fmla="*/ 0 w 164"/>
                      <a:gd name="T7" fmla="*/ 114 h 128"/>
                      <a:gd name="T8" fmla="*/ 0 w 164"/>
                      <a:gd name="T9" fmla="*/ 14 h 128"/>
                      <a:gd name="T10" fmla="*/ 15 w 164"/>
                      <a:gd name="T11" fmla="*/ 0 h 128"/>
                      <a:gd name="T12" fmla="*/ 149 w 164"/>
                      <a:gd name="T13" fmla="*/ 0 h 128"/>
                      <a:gd name="T14" fmla="*/ 164 w 164"/>
                      <a:gd name="T15" fmla="*/ 14 h 128"/>
                      <a:gd name="T16" fmla="*/ 164 w 164"/>
                      <a:gd name="T17" fmla="*/ 114 h 128"/>
                      <a:gd name="T18" fmla="*/ 149 w 164"/>
                      <a:gd name="T19" fmla="*/ 11 h 128"/>
                      <a:gd name="T20" fmla="*/ 15 w 164"/>
                      <a:gd name="T21" fmla="*/ 11 h 128"/>
                      <a:gd name="T22" fmla="*/ 12 w 164"/>
                      <a:gd name="T23" fmla="*/ 14 h 128"/>
                      <a:gd name="T24" fmla="*/ 25 w 164"/>
                      <a:gd name="T25" fmla="*/ 40 h 128"/>
                      <a:gd name="T26" fmla="*/ 62 w 164"/>
                      <a:gd name="T27" fmla="*/ 69 h 128"/>
                      <a:gd name="T28" fmla="*/ 82 w 164"/>
                      <a:gd name="T29" fmla="*/ 82 h 128"/>
                      <a:gd name="T30" fmla="*/ 82 w 164"/>
                      <a:gd name="T31" fmla="*/ 82 h 128"/>
                      <a:gd name="T32" fmla="*/ 82 w 164"/>
                      <a:gd name="T33" fmla="*/ 82 h 128"/>
                      <a:gd name="T34" fmla="*/ 102 w 164"/>
                      <a:gd name="T35" fmla="*/ 69 h 128"/>
                      <a:gd name="T36" fmla="*/ 139 w 164"/>
                      <a:gd name="T37" fmla="*/ 40 h 128"/>
                      <a:gd name="T38" fmla="*/ 152 w 164"/>
                      <a:gd name="T39" fmla="*/ 18 h 128"/>
                      <a:gd name="T40" fmla="*/ 149 w 164"/>
                      <a:gd name="T41" fmla="*/ 11 h 128"/>
                      <a:gd name="T42" fmla="*/ 152 w 164"/>
                      <a:gd name="T43" fmla="*/ 43 h 128"/>
                      <a:gd name="T44" fmla="*/ 146 w 164"/>
                      <a:gd name="T45" fmla="*/ 50 h 128"/>
                      <a:gd name="T46" fmla="*/ 107 w 164"/>
                      <a:gd name="T47" fmla="*/ 80 h 128"/>
                      <a:gd name="T48" fmla="*/ 82 w 164"/>
                      <a:gd name="T49" fmla="*/ 93 h 128"/>
                      <a:gd name="T50" fmla="*/ 82 w 164"/>
                      <a:gd name="T51" fmla="*/ 93 h 128"/>
                      <a:gd name="T52" fmla="*/ 82 w 164"/>
                      <a:gd name="T53" fmla="*/ 93 h 128"/>
                      <a:gd name="T54" fmla="*/ 57 w 164"/>
                      <a:gd name="T55" fmla="*/ 80 h 128"/>
                      <a:gd name="T56" fmla="*/ 18 w 164"/>
                      <a:gd name="T57" fmla="*/ 50 h 128"/>
                      <a:gd name="T58" fmla="*/ 12 w 164"/>
                      <a:gd name="T59" fmla="*/ 43 h 128"/>
                      <a:gd name="T60" fmla="*/ 12 w 164"/>
                      <a:gd name="T61" fmla="*/ 114 h 128"/>
                      <a:gd name="T62" fmla="*/ 15 w 164"/>
                      <a:gd name="T63" fmla="*/ 117 h 128"/>
                      <a:gd name="T64" fmla="*/ 149 w 164"/>
                      <a:gd name="T65" fmla="*/ 117 h 128"/>
                      <a:gd name="T66" fmla="*/ 152 w 164"/>
                      <a:gd name="T67" fmla="*/ 114 h 128"/>
                      <a:gd name="T68" fmla="*/ 152 w 164"/>
                      <a:gd name="T69" fmla="*/ 4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128">
                        <a:moveTo>
                          <a:pt x="164" y="114"/>
                        </a:moveTo>
                        <a:cubicBezTo>
                          <a:pt x="164" y="122"/>
                          <a:pt x="157" y="128"/>
                          <a:pt x="149" y="128"/>
                        </a:cubicBezTo>
                        <a:cubicBezTo>
                          <a:pt x="15" y="128"/>
                          <a:pt x="15" y="128"/>
                          <a:pt x="15" y="128"/>
                        </a:cubicBezTo>
                        <a:cubicBezTo>
                          <a:pt x="7" y="128"/>
                          <a:pt x="0" y="122"/>
                          <a:pt x="0" y="114"/>
                        </a:cubicBezTo>
                        <a:cubicBezTo>
                          <a:pt x="0" y="14"/>
                          <a:pt x="0" y="14"/>
                          <a:pt x="0" y="14"/>
                        </a:cubicBezTo>
                        <a:cubicBezTo>
                          <a:pt x="0" y="6"/>
                          <a:pt x="7" y="0"/>
                          <a:pt x="15" y="0"/>
                        </a:cubicBezTo>
                        <a:cubicBezTo>
                          <a:pt x="149" y="0"/>
                          <a:pt x="149" y="0"/>
                          <a:pt x="149" y="0"/>
                        </a:cubicBezTo>
                        <a:cubicBezTo>
                          <a:pt x="157" y="0"/>
                          <a:pt x="164" y="6"/>
                          <a:pt x="164" y="14"/>
                        </a:cubicBezTo>
                        <a:lnTo>
                          <a:pt x="164" y="114"/>
                        </a:lnTo>
                        <a:close/>
                        <a:moveTo>
                          <a:pt x="149" y="11"/>
                        </a:moveTo>
                        <a:cubicBezTo>
                          <a:pt x="15" y="11"/>
                          <a:pt x="15" y="11"/>
                          <a:pt x="15" y="11"/>
                        </a:cubicBezTo>
                        <a:cubicBezTo>
                          <a:pt x="13" y="11"/>
                          <a:pt x="12" y="13"/>
                          <a:pt x="12" y="14"/>
                        </a:cubicBezTo>
                        <a:cubicBezTo>
                          <a:pt x="12" y="25"/>
                          <a:pt x="17" y="34"/>
                          <a:pt x="25" y="40"/>
                        </a:cubicBezTo>
                        <a:cubicBezTo>
                          <a:pt x="37" y="50"/>
                          <a:pt x="50" y="59"/>
                          <a:pt x="62" y="69"/>
                        </a:cubicBezTo>
                        <a:cubicBezTo>
                          <a:pt x="67" y="73"/>
                          <a:pt x="76" y="82"/>
                          <a:pt x="82" y="82"/>
                        </a:cubicBezTo>
                        <a:cubicBezTo>
                          <a:pt x="82" y="82"/>
                          <a:pt x="82" y="82"/>
                          <a:pt x="82" y="82"/>
                        </a:cubicBezTo>
                        <a:cubicBezTo>
                          <a:pt x="82" y="82"/>
                          <a:pt x="82" y="82"/>
                          <a:pt x="82" y="82"/>
                        </a:cubicBezTo>
                        <a:cubicBezTo>
                          <a:pt x="89" y="82"/>
                          <a:pt x="97" y="73"/>
                          <a:pt x="102" y="69"/>
                        </a:cubicBezTo>
                        <a:cubicBezTo>
                          <a:pt x="114" y="59"/>
                          <a:pt x="127" y="50"/>
                          <a:pt x="139" y="40"/>
                        </a:cubicBezTo>
                        <a:cubicBezTo>
                          <a:pt x="145" y="36"/>
                          <a:pt x="152" y="25"/>
                          <a:pt x="152" y="18"/>
                        </a:cubicBezTo>
                        <a:cubicBezTo>
                          <a:pt x="152" y="15"/>
                          <a:pt x="153" y="11"/>
                          <a:pt x="149" y="11"/>
                        </a:cubicBezTo>
                        <a:close/>
                        <a:moveTo>
                          <a:pt x="152" y="43"/>
                        </a:moveTo>
                        <a:cubicBezTo>
                          <a:pt x="150" y="46"/>
                          <a:pt x="148" y="48"/>
                          <a:pt x="146" y="50"/>
                        </a:cubicBezTo>
                        <a:cubicBezTo>
                          <a:pt x="133" y="60"/>
                          <a:pt x="120" y="70"/>
                          <a:pt x="107" y="80"/>
                        </a:cubicBezTo>
                        <a:cubicBezTo>
                          <a:pt x="100" y="86"/>
                          <a:pt x="92" y="93"/>
                          <a:pt x="82" y="93"/>
                        </a:cubicBezTo>
                        <a:cubicBezTo>
                          <a:pt x="82" y="93"/>
                          <a:pt x="82" y="93"/>
                          <a:pt x="82" y="93"/>
                        </a:cubicBezTo>
                        <a:cubicBezTo>
                          <a:pt x="82" y="93"/>
                          <a:pt x="82" y="93"/>
                          <a:pt x="82" y="93"/>
                        </a:cubicBezTo>
                        <a:cubicBezTo>
                          <a:pt x="72" y="93"/>
                          <a:pt x="64" y="86"/>
                          <a:pt x="57" y="80"/>
                        </a:cubicBezTo>
                        <a:cubicBezTo>
                          <a:pt x="44" y="70"/>
                          <a:pt x="31" y="60"/>
                          <a:pt x="18" y="50"/>
                        </a:cubicBezTo>
                        <a:cubicBezTo>
                          <a:pt x="16" y="48"/>
                          <a:pt x="14" y="46"/>
                          <a:pt x="12" y="43"/>
                        </a:cubicBezTo>
                        <a:cubicBezTo>
                          <a:pt x="12" y="114"/>
                          <a:pt x="12" y="114"/>
                          <a:pt x="12" y="114"/>
                        </a:cubicBezTo>
                        <a:cubicBezTo>
                          <a:pt x="12" y="115"/>
                          <a:pt x="13" y="117"/>
                          <a:pt x="15" y="117"/>
                        </a:cubicBezTo>
                        <a:cubicBezTo>
                          <a:pt x="149" y="117"/>
                          <a:pt x="149" y="117"/>
                          <a:pt x="149" y="117"/>
                        </a:cubicBezTo>
                        <a:cubicBezTo>
                          <a:pt x="151" y="117"/>
                          <a:pt x="152" y="115"/>
                          <a:pt x="152" y="114"/>
                        </a:cubicBezTo>
                        <a:lnTo>
                          <a:pt x="152" y="43"/>
                        </a:ln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68" name="Group 18"/>
                <p:cNvGrpSpPr/>
                <p:nvPr/>
              </p:nvGrpSpPr>
              <p:grpSpPr>
                <a:xfrm>
                  <a:off x="7948130" y="1779732"/>
                  <a:ext cx="473092" cy="467227"/>
                  <a:chOff x="7850778" y="1338532"/>
                  <a:chExt cx="467298" cy="467298"/>
                </a:xfrm>
              </p:grpSpPr>
              <p:sp>
                <p:nvSpPr>
                  <p:cNvPr id="69" name="Freeform 12"/>
                  <p:cNvSpPr>
                    <a:spLocks/>
                  </p:cNvSpPr>
                  <p:nvPr/>
                </p:nvSpPr>
                <p:spPr bwMode="auto">
                  <a:xfrm>
                    <a:off x="7850778" y="1338532"/>
                    <a:ext cx="467298" cy="467298"/>
                  </a:xfrm>
                  <a:custGeom>
                    <a:avLst/>
                    <a:gdLst>
                      <a:gd name="T0" fmla="*/ 101 w 204"/>
                      <a:gd name="T1" fmla="*/ 0 h 204"/>
                      <a:gd name="T2" fmla="*/ 129 w 204"/>
                      <a:gd name="T3" fmla="*/ 3 h 204"/>
                      <a:gd name="T4" fmla="*/ 153 w 204"/>
                      <a:gd name="T5" fmla="*/ 13 h 204"/>
                      <a:gd name="T6" fmla="*/ 174 w 204"/>
                      <a:gd name="T7" fmla="*/ 30 h 204"/>
                      <a:gd name="T8" fmla="*/ 190 w 204"/>
                      <a:gd name="T9" fmla="*/ 51 h 204"/>
                      <a:gd name="T10" fmla="*/ 201 w 204"/>
                      <a:gd name="T11" fmla="*/ 74 h 204"/>
                      <a:gd name="T12" fmla="*/ 204 w 204"/>
                      <a:gd name="T13" fmla="*/ 101 h 204"/>
                      <a:gd name="T14" fmla="*/ 201 w 204"/>
                      <a:gd name="T15" fmla="*/ 128 h 204"/>
                      <a:gd name="T16" fmla="*/ 190 w 204"/>
                      <a:gd name="T17" fmla="*/ 153 h 204"/>
                      <a:gd name="T18" fmla="*/ 174 w 204"/>
                      <a:gd name="T19" fmla="*/ 174 h 204"/>
                      <a:gd name="T20" fmla="*/ 153 w 204"/>
                      <a:gd name="T21" fmla="*/ 189 h 204"/>
                      <a:gd name="T22" fmla="*/ 129 w 204"/>
                      <a:gd name="T23" fmla="*/ 199 h 204"/>
                      <a:gd name="T24" fmla="*/ 101 w 204"/>
                      <a:gd name="T25" fmla="*/ 204 h 204"/>
                      <a:gd name="T26" fmla="*/ 74 w 204"/>
                      <a:gd name="T27" fmla="*/ 199 h 204"/>
                      <a:gd name="T28" fmla="*/ 51 w 204"/>
                      <a:gd name="T29" fmla="*/ 189 h 204"/>
                      <a:gd name="T30" fmla="*/ 30 w 204"/>
                      <a:gd name="T31" fmla="*/ 174 h 204"/>
                      <a:gd name="T32" fmla="*/ 13 w 204"/>
                      <a:gd name="T33" fmla="*/ 153 h 204"/>
                      <a:gd name="T34" fmla="*/ 3 w 204"/>
                      <a:gd name="T35" fmla="*/ 128 h 204"/>
                      <a:gd name="T36" fmla="*/ 0 w 204"/>
                      <a:gd name="T37" fmla="*/ 101 h 204"/>
                      <a:gd name="T38" fmla="*/ 3 w 204"/>
                      <a:gd name="T39" fmla="*/ 74 h 204"/>
                      <a:gd name="T40" fmla="*/ 13 w 204"/>
                      <a:gd name="T41" fmla="*/ 51 h 204"/>
                      <a:gd name="T42" fmla="*/ 30 w 204"/>
                      <a:gd name="T43" fmla="*/ 30 h 204"/>
                      <a:gd name="T44" fmla="*/ 51 w 204"/>
                      <a:gd name="T45" fmla="*/ 13 h 204"/>
                      <a:gd name="T46" fmla="*/ 74 w 204"/>
                      <a:gd name="T47" fmla="*/ 3 h 204"/>
                      <a:gd name="T48" fmla="*/ 101 w 204"/>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4">
                        <a:moveTo>
                          <a:pt x="101" y="0"/>
                        </a:moveTo>
                        <a:lnTo>
                          <a:pt x="129" y="3"/>
                        </a:lnTo>
                        <a:lnTo>
                          <a:pt x="153" y="13"/>
                        </a:lnTo>
                        <a:lnTo>
                          <a:pt x="174" y="30"/>
                        </a:lnTo>
                        <a:lnTo>
                          <a:pt x="190" y="51"/>
                        </a:lnTo>
                        <a:lnTo>
                          <a:pt x="201" y="74"/>
                        </a:lnTo>
                        <a:lnTo>
                          <a:pt x="204" y="101"/>
                        </a:lnTo>
                        <a:lnTo>
                          <a:pt x="201" y="128"/>
                        </a:lnTo>
                        <a:lnTo>
                          <a:pt x="190" y="153"/>
                        </a:lnTo>
                        <a:lnTo>
                          <a:pt x="174" y="174"/>
                        </a:lnTo>
                        <a:lnTo>
                          <a:pt x="153" y="189"/>
                        </a:lnTo>
                        <a:lnTo>
                          <a:pt x="129" y="199"/>
                        </a:lnTo>
                        <a:lnTo>
                          <a:pt x="101" y="204"/>
                        </a:lnTo>
                        <a:lnTo>
                          <a:pt x="74" y="199"/>
                        </a:lnTo>
                        <a:lnTo>
                          <a:pt x="51" y="189"/>
                        </a:lnTo>
                        <a:lnTo>
                          <a:pt x="30" y="174"/>
                        </a:lnTo>
                        <a:lnTo>
                          <a:pt x="13" y="153"/>
                        </a:lnTo>
                        <a:lnTo>
                          <a:pt x="3" y="128"/>
                        </a:lnTo>
                        <a:lnTo>
                          <a:pt x="0" y="101"/>
                        </a:lnTo>
                        <a:lnTo>
                          <a:pt x="3" y="74"/>
                        </a:lnTo>
                        <a:lnTo>
                          <a:pt x="13" y="51"/>
                        </a:lnTo>
                        <a:lnTo>
                          <a:pt x="30" y="30"/>
                        </a:lnTo>
                        <a:lnTo>
                          <a:pt x="51" y="13"/>
                        </a:lnTo>
                        <a:lnTo>
                          <a:pt x="74" y="3"/>
                        </a:lnTo>
                        <a:lnTo>
                          <a:pt x="101" y="0"/>
                        </a:lnTo>
                        <a:close/>
                      </a:path>
                    </a:pathLst>
                  </a:custGeom>
                  <a:solidFill>
                    <a:schemeClr val="tx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70" name="Freeform 11"/>
                  <p:cNvSpPr>
                    <a:spLocks noEditPoints="1"/>
                  </p:cNvSpPr>
                  <p:nvPr/>
                </p:nvSpPr>
                <p:spPr bwMode="auto">
                  <a:xfrm>
                    <a:off x="7954681" y="1439214"/>
                    <a:ext cx="254730" cy="253695"/>
                  </a:xfrm>
                  <a:custGeom>
                    <a:avLst/>
                    <a:gdLst>
                      <a:gd name="T0" fmla="*/ 141 w 152"/>
                      <a:gd name="T1" fmla="*/ 152 h 152"/>
                      <a:gd name="T2" fmla="*/ 132 w 152"/>
                      <a:gd name="T3" fmla="*/ 148 h 152"/>
                      <a:gd name="T4" fmla="*/ 101 w 152"/>
                      <a:gd name="T5" fmla="*/ 117 h 152"/>
                      <a:gd name="T6" fmla="*/ 65 w 152"/>
                      <a:gd name="T7" fmla="*/ 128 h 152"/>
                      <a:gd name="T8" fmla="*/ 0 w 152"/>
                      <a:gd name="T9" fmla="*/ 64 h 152"/>
                      <a:gd name="T10" fmla="*/ 65 w 152"/>
                      <a:gd name="T11" fmla="*/ 0 h 152"/>
                      <a:gd name="T12" fmla="*/ 129 w 152"/>
                      <a:gd name="T13" fmla="*/ 64 h 152"/>
                      <a:gd name="T14" fmla="*/ 118 w 152"/>
                      <a:gd name="T15" fmla="*/ 100 h 152"/>
                      <a:gd name="T16" fmla="*/ 149 w 152"/>
                      <a:gd name="T17" fmla="*/ 132 h 152"/>
                      <a:gd name="T18" fmla="*/ 152 w 152"/>
                      <a:gd name="T19" fmla="*/ 140 h 152"/>
                      <a:gd name="T20" fmla="*/ 141 w 152"/>
                      <a:gd name="T21" fmla="*/ 152 h 152"/>
                      <a:gd name="T22" fmla="*/ 65 w 152"/>
                      <a:gd name="T23" fmla="*/ 23 h 152"/>
                      <a:gd name="T24" fmla="*/ 24 w 152"/>
                      <a:gd name="T25" fmla="*/ 64 h 152"/>
                      <a:gd name="T26" fmla="*/ 65 w 152"/>
                      <a:gd name="T27" fmla="*/ 105 h 152"/>
                      <a:gd name="T28" fmla="*/ 106 w 152"/>
                      <a:gd name="T29" fmla="*/ 64 h 152"/>
                      <a:gd name="T30" fmla="*/ 65 w 152"/>
                      <a:gd name="T31" fmla="*/ 2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 h="152">
                        <a:moveTo>
                          <a:pt x="141" y="152"/>
                        </a:moveTo>
                        <a:cubicBezTo>
                          <a:pt x="138" y="152"/>
                          <a:pt x="135" y="151"/>
                          <a:pt x="132" y="148"/>
                        </a:cubicBezTo>
                        <a:cubicBezTo>
                          <a:pt x="101" y="117"/>
                          <a:pt x="101" y="117"/>
                          <a:pt x="101" y="117"/>
                        </a:cubicBezTo>
                        <a:cubicBezTo>
                          <a:pt x="90" y="124"/>
                          <a:pt x="78" y="128"/>
                          <a:pt x="65" y="128"/>
                        </a:cubicBezTo>
                        <a:cubicBezTo>
                          <a:pt x="29" y="128"/>
                          <a:pt x="0" y="100"/>
                          <a:pt x="0" y="64"/>
                        </a:cubicBezTo>
                        <a:cubicBezTo>
                          <a:pt x="0" y="28"/>
                          <a:pt x="29" y="0"/>
                          <a:pt x="65" y="0"/>
                        </a:cubicBezTo>
                        <a:cubicBezTo>
                          <a:pt x="100" y="0"/>
                          <a:pt x="129" y="28"/>
                          <a:pt x="129" y="64"/>
                        </a:cubicBezTo>
                        <a:cubicBezTo>
                          <a:pt x="129" y="77"/>
                          <a:pt x="125" y="90"/>
                          <a:pt x="118" y="100"/>
                        </a:cubicBezTo>
                        <a:cubicBezTo>
                          <a:pt x="149" y="132"/>
                          <a:pt x="149" y="132"/>
                          <a:pt x="149" y="132"/>
                        </a:cubicBezTo>
                        <a:cubicBezTo>
                          <a:pt x="151" y="134"/>
                          <a:pt x="152" y="137"/>
                          <a:pt x="152" y="140"/>
                        </a:cubicBezTo>
                        <a:cubicBezTo>
                          <a:pt x="152" y="147"/>
                          <a:pt x="147" y="152"/>
                          <a:pt x="141" y="152"/>
                        </a:cubicBezTo>
                        <a:close/>
                        <a:moveTo>
                          <a:pt x="65" y="23"/>
                        </a:moveTo>
                        <a:cubicBezTo>
                          <a:pt x="42" y="23"/>
                          <a:pt x="24" y="41"/>
                          <a:pt x="24" y="64"/>
                        </a:cubicBezTo>
                        <a:cubicBezTo>
                          <a:pt x="24" y="87"/>
                          <a:pt x="42" y="105"/>
                          <a:pt x="65" y="105"/>
                        </a:cubicBezTo>
                        <a:cubicBezTo>
                          <a:pt x="87" y="105"/>
                          <a:pt x="106" y="87"/>
                          <a:pt x="106" y="64"/>
                        </a:cubicBezTo>
                        <a:cubicBezTo>
                          <a:pt x="106" y="41"/>
                          <a:pt x="87" y="23"/>
                          <a:pt x="65" y="23"/>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grpSp>
      </p:grpSp>
      <p:grpSp>
        <p:nvGrpSpPr>
          <p:cNvPr id="79" name="组合 78">
            <a:extLst>
              <a:ext uri="{FF2B5EF4-FFF2-40B4-BE49-F238E27FC236}">
                <a16:creationId xmlns:a16="http://schemas.microsoft.com/office/drawing/2014/main" id="{2D02BB10-2FB9-4E5A-9D97-DC08222E5759}"/>
              </a:ext>
            </a:extLst>
          </p:cNvPr>
          <p:cNvGrpSpPr/>
          <p:nvPr/>
        </p:nvGrpSpPr>
        <p:grpSpPr>
          <a:xfrm>
            <a:off x="4572000" y="269131"/>
            <a:ext cx="4086895" cy="788287"/>
            <a:chOff x="4687332" y="287447"/>
            <a:chExt cx="4086895" cy="788287"/>
          </a:xfrm>
        </p:grpSpPr>
        <p:grpSp>
          <p:nvGrpSpPr>
            <p:cNvPr id="80" name="组合 79">
              <a:extLst>
                <a:ext uri="{FF2B5EF4-FFF2-40B4-BE49-F238E27FC236}">
                  <a16:creationId xmlns:a16="http://schemas.microsoft.com/office/drawing/2014/main" id="{BFF535C1-D155-41C0-973D-5EDCD41808B7}"/>
                </a:ext>
              </a:extLst>
            </p:cNvPr>
            <p:cNvGrpSpPr/>
            <p:nvPr/>
          </p:nvGrpSpPr>
          <p:grpSpPr>
            <a:xfrm>
              <a:off x="4687332" y="287447"/>
              <a:ext cx="3510263" cy="788287"/>
              <a:chOff x="4932040" y="411510"/>
              <a:chExt cx="3510263" cy="788287"/>
            </a:xfrm>
          </p:grpSpPr>
          <p:sp>
            <p:nvSpPr>
              <p:cNvPr id="82" name="Text Placeholder 8">
                <a:extLst>
                  <a:ext uri="{FF2B5EF4-FFF2-40B4-BE49-F238E27FC236}">
                    <a16:creationId xmlns:a16="http://schemas.microsoft.com/office/drawing/2014/main" id="{EC6ED0AE-A451-4118-8D0F-2798C022B073}"/>
                  </a:ext>
                </a:extLst>
              </p:cNvPr>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600" dirty="0">
                    <a:solidFill>
                      <a:schemeClr val="bg1"/>
                    </a:solidFill>
                    <a:latin typeface="微软雅黑" panose="020B0503020204020204" pitchFamily="34" charset="-122"/>
                    <a:ea typeface="微软雅黑" panose="020B0503020204020204" pitchFamily="34" charset="-122"/>
                  </a:rPr>
                  <a:t>标题内容</a:t>
                </a:r>
                <a:endParaRPr lang="en-US" altLang="zh-CN" sz="2600" dirty="0">
                  <a:solidFill>
                    <a:schemeClr val="bg1"/>
                  </a:solidFill>
                  <a:latin typeface="微软雅黑" panose="020B0503020204020204" pitchFamily="34" charset="-122"/>
                  <a:ea typeface="微软雅黑" panose="020B0503020204020204" pitchFamily="34" charset="-122"/>
                </a:endParaRPr>
              </a:p>
            </p:txBody>
          </p:sp>
          <p:sp>
            <p:nvSpPr>
              <p:cNvPr id="83" name="Text Placeholder 9">
                <a:extLst>
                  <a:ext uri="{FF2B5EF4-FFF2-40B4-BE49-F238E27FC236}">
                    <a16:creationId xmlns:a16="http://schemas.microsoft.com/office/drawing/2014/main" id="{2B476634-952A-4167-A754-722A4A839295}"/>
                  </a:ext>
                </a:extLst>
              </p:cNvPr>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400" dirty="0">
                    <a:solidFill>
                      <a:schemeClr val="accent1"/>
                    </a:solidFill>
                    <a:latin typeface="微软雅黑" panose="020B0503020204020204" pitchFamily="34" charset="-122"/>
                    <a:ea typeface="微软雅黑" panose="020B0503020204020204" pitchFamily="34" charset="-122"/>
                  </a:rPr>
                  <a:t>单击此处添加副标题</a:t>
                </a:r>
                <a:endParaRPr lang="en-US" altLang="zh-CN" sz="1400" dirty="0">
                  <a:solidFill>
                    <a:schemeClr val="accent1"/>
                  </a:solidFill>
                  <a:latin typeface="微软雅黑" panose="020B0503020204020204" pitchFamily="34" charset="-122"/>
                  <a:ea typeface="微软雅黑" panose="020B0503020204020204" pitchFamily="34" charset="-122"/>
                </a:endParaRPr>
              </a:p>
            </p:txBody>
          </p:sp>
          <p:cxnSp>
            <p:nvCxnSpPr>
              <p:cNvPr id="84" name="Straight Connector 12">
                <a:extLst>
                  <a:ext uri="{FF2B5EF4-FFF2-40B4-BE49-F238E27FC236}">
                    <a16:creationId xmlns:a16="http://schemas.microsoft.com/office/drawing/2014/main" id="{EE78BECC-C6E6-4133-83F3-D6F7BB04D845}"/>
                  </a:ext>
                </a:extLst>
              </p:cNvPr>
              <p:cNvCxnSpPr>
                <a:cxnSpLocks/>
              </p:cNvCxnSpPr>
              <p:nvPr/>
            </p:nvCxnSpPr>
            <p:spPr>
              <a:xfrm>
                <a:off x="8442303" y="551452"/>
                <a:ext cx="0" cy="45312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81" name="图片 80">
              <a:extLst>
                <a:ext uri="{FF2B5EF4-FFF2-40B4-BE49-F238E27FC236}">
                  <a16:creationId xmlns:a16="http://schemas.microsoft.com/office/drawing/2014/main" id="{6212897B-0976-4970-926A-FAC7AA2357B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16416" y="427389"/>
              <a:ext cx="457811" cy="457200"/>
            </a:xfrm>
            <a:prstGeom prst="rect">
              <a:avLst/>
            </a:prstGeom>
          </p:spPr>
        </p:pic>
      </p:grpSp>
      <p:pic>
        <p:nvPicPr>
          <p:cNvPr id="73" name="图片 72">
            <a:extLst>
              <a:ext uri="{FF2B5EF4-FFF2-40B4-BE49-F238E27FC236}">
                <a16:creationId xmlns:a16="http://schemas.microsoft.com/office/drawing/2014/main" id="{FD70B9F1-8ECE-4C55-A2C6-9D768D5B9C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1149" y="4227934"/>
            <a:ext cx="1541481" cy="689491"/>
          </a:xfrm>
          <a:prstGeom prst="rect">
            <a:avLst/>
          </a:prstGeom>
        </p:spPr>
      </p:pic>
    </p:spTree>
    <p:extLst>
      <p:ext uri="{BB962C8B-B14F-4D97-AF65-F5344CB8AC3E}">
        <p14:creationId xmlns:p14="http://schemas.microsoft.com/office/powerpoint/2010/main" val="237149842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a:grpSpLocks noChangeAspect="1"/>
          </p:cNvGrpSpPr>
          <p:nvPr/>
        </p:nvGrpSpPr>
        <p:grpSpPr>
          <a:xfrm>
            <a:off x="539552" y="734409"/>
            <a:ext cx="3456384" cy="4162974"/>
            <a:chOff x="1141364" y="649312"/>
            <a:chExt cx="4276566" cy="5150844"/>
          </a:xfrm>
        </p:grpSpPr>
        <p:sp>
          <p:nvSpPr>
            <p:cNvPr id="9" name="任意多边形 8"/>
            <p:cNvSpPr/>
            <p:nvPr/>
          </p:nvSpPr>
          <p:spPr>
            <a:xfrm>
              <a:off x="1491356" y="1307806"/>
              <a:ext cx="3638573" cy="4492350"/>
            </a:xfrm>
            <a:custGeom>
              <a:avLst/>
              <a:gdLst>
                <a:gd name="connsiteX0" fmla="*/ 1743740 w 3742661"/>
                <a:gd name="connsiteY0" fmla="*/ 4476307 h 4476307"/>
                <a:gd name="connsiteX1" fmla="*/ 1796903 w 3742661"/>
                <a:gd name="connsiteY1" fmla="*/ 3785190 h 4476307"/>
                <a:gd name="connsiteX2" fmla="*/ 1307805 w 3742661"/>
                <a:gd name="connsiteY2" fmla="*/ 3381153 h 4476307"/>
                <a:gd name="connsiteX3" fmla="*/ 31898 w 3742661"/>
                <a:gd name="connsiteY3" fmla="*/ 2945218 h 4476307"/>
                <a:gd name="connsiteX4" fmla="*/ 1127052 w 3742661"/>
                <a:gd name="connsiteY4" fmla="*/ 3242930 h 4476307"/>
                <a:gd name="connsiteX5" fmla="*/ 393405 w 3742661"/>
                <a:gd name="connsiteY5" fmla="*/ 2456121 h 4476307"/>
                <a:gd name="connsiteX6" fmla="*/ 1775638 w 3742661"/>
                <a:gd name="connsiteY6" fmla="*/ 3519376 h 4476307"/>
                <a:gd name="connsiteX7" fmla="*/ 1679945 w 3742661"/>
                <a:gd name="connsiteY7" fmla="*/ 2392325 h 4476307"/>
                <a:gd name="connsiteX8" fmla="*/ 0 w 3742661"/>
                <a:gd name="connsiteY8" fmla="*/ 754911 h 4476307"/>
                <a:gd name="connsiteX9" fmla="*/ 988828 w 3742661"/>
                <a:gd name="connsiteY9" fmla="*/ 1924493 h 4476307"/>
                <a:gd name="connsiteX10" fmla="*/ 1137684 w 3742661"/>
                <a:gd name="connsiteY10" fmla="*/ 861237 h 4476307"/>
                <a:gd name="connsiteX11" fmla="*/ 1222745 w 3742661"/>
                <a:gd name="connsiteY11" fmla="*/ 2062716 h 4476307"/>
                <a:gd name="connsiteX12" fmla="*/ 1690577 w 3742661"/>
                <a:gd name="connsiteY12" fmla="*/ 2190307 h 4476307"/>
                <a:gd name="connsiteX13" fmla="*/ 1956391 w 3742661"/>
                <a:gd name="connsiteY13" fmla="*/ 0 h 4476307"/>
                <a:gd name="connsiteX14" fmla="*/ 2083982 w 3742661"/>
                <a:gd name="connsiteY14" fmla="*/ 978195 h 4476307"/>
                <a:gd name="connsiteX15" fmla="*/ 1881963 w 3742661"/>
                <a:gd name="connsiteY15" fmla="*/ 2232837 h 4476307"/>
                <a:gd name="connsiteX16" fmla="*/ 2041452 w 3742661"/>
                <a:gd name="connsiteY16" fmla="*/ 3030279 h 4476307"/>
                <a:gd name="connsiteX17" fmla="*/ 2647507 w 3742661"/>
                <a:gd name="connsiteY17" fmla="*/ 2519916 h 4476307"/>
                <a:gd name="connsiteX18" fmla="*/ 2849526 w 3742661"/>
                <a:gd name="connsiteY18" fmla="*/ 1307804 h 4476307"/>
                <a:gd name="connsiteX19" fmla="*/ 2838893 w 3742661"/>
                <a:gd name="connsiteY19" fmla="*/ 2371060 h 4476307"/>
                <a:gd name="connsiteX20" fmla="*/ 3742661 w 3742661"/>
                <a:gd name="connsiteY20" fmla="*/ 1148316 h 4476307"/>
                <a:gd name="connsiteX21" fmla="*/ 2222205 w 3742661"/>
                <a:gd name="connsiteY21" fmla="*/ 3370521 h 4476307"/>
                <a:gd name="connsiteX22" fmla="*/ 2169042 w 3742661"/>
                <a:gd name="connsiteY22" fmla="*/ 3817088 h 4476307"/>
                <a:gd name="connsiteX23" fmla="*/ 3317358 w 3742661"/>
                <a:gd name="connsiteY23" fmla="*/ 3094074 h 4476307"/>
                <a:gd name="connsiteX24" fmla="*/ 2190307 w 3742661"/>
                <a:gd name="connsiteY24" fmla="*/ 4051004 h 4476307"/>
                <a:gd name="connsiteX25" fmla="*/ 2232838 w 3742661"/>
                <a:gd name="connsiteY25" fmla="*/ 4476307 h 4476307"/>
                <a:gd name="connsiteX26" fmla="*/ 1743740 w 3742661"/>
                <a:gd name="connsiteY26" fmla="*/ 4476307 h 4476307"/>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1743740 w 3742661"/>
                <a:gd name="connsiteY26"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2819 h 4522819"/>
                <a:gd name="connsiteX1" fmla="*/ 1796903 w 3694535"/>
                <a:gd name="connsiteY1" fmla="*/ 3815659 h 4522819"/>
                <a:gd name="connsiteX2" fmla="*/ 1307805 w 3694535"/>
                <a:gd name="connsiteY2" fmla="*/ 3411622 h 4522819"/>
                <a:gd name="connsiteX3" fmla="*/ 31898 w 3694535"/>
                <a:gd name="connsiteY3" fmla="*/ 2975687 h 4522819"/>
                <a:gd name="connsiteX4" fmla="*/ 1127052 w 3694535"/>
                <a:gd name="connsiteY4" fmla="*/ 3273399 h 4522819"/>
                <a:gd name="connsiteX5" fmla="*/ 393405 w 3694535"/>
                <a:gd name="connsiteY5" fmla="*/ 2486590 h 4522819"/>
                <a:gd name="connsiteX6" fmla="*/ 1775638 w 3694535"/>
                <a:gd name="connsiteY6" fmla="*/ 3549845 h 4522819"/>
                <a:gd name="connsiteX7" fmla="*/ 1679945 w 3694535"/>
                <a:gd name="connsiteY7" fmla="*/ 2422794 h 4522819"/>
                <a:gd name="connsiteX8" fmla="*/ 0 w 3694535"/>
                <a:gd name="connsiteY8" fmla="*/ 785380 h 4522819"/>
                <a:gd name="connsiteX9" fmla="*/ 988828 w 3694535"/>
                <a:gd name="connsiteY9" fmla="*/ 1954962 h 4522819"/>
                <a:gd name="connsiteX10" fmla="*/ 1137684 w 3694535"/>
                <a:gd name="connsiteY10" fmla="*/ 891706 h 4522819"/>
                <a:gd name="connsiteX11" fmla="*/ 1222745 w 3694535"/>
                <a:gd name="connsiteY11" fmla="*/ 2093185 h 4522819"/>
                <a:gd name="connsiteX12" fmla="*/ 1690577 w 3694535"/>
                <a:gd name="connsiteY12" fmla="*/ 2220776 h 4522819"/>
                <a:gd name="connsiteX13" fmla="*/ 1956391 w 3694535"/>
                <a:gd name="connsiteY13" fmla="*/ 30469 h 4522819"/>
                <a:gd name="connsiteX14" fmla="*/ 2027834 w 3694535"/>
                <a:gd name="connsiteY14" fmla="*/ 1016685 h 4522819"/>
                <a:gd name="connsiteX15" fmla="*/ 1881963 w 3694535"/>
                <a:gd name="connsiteY15" fmla="*/ 2090854 h 4522819"/>
                <a:gd name="connsiteX16" fmla="*/ 2057494 w 3694535"/>
                <a:gd name="connsiteY16" fmla="*/ 3076790 h 4522819"/>
                <a:gd name="connsiteX17" fmla="*/ 2647507 w 3694535"/>
                <a:gd name="connsiteY17" fmla="*/ 2550385 h 4522819"/>
                <a:gd name="connsiteX18" fmla="*/ 2913694 w 3694535"/>
                <a:gd name="connsiteY18" fmla="*/ 1322231 h 4522819"/>
                <a:gd name="connsiteX19" fmla="*/ 2806809 w 3694535"/>
                <a:gd name="connsiteY19" fmla="*/ 2413560 h 4522819"/>
                <a:gd name="connsiteX20" fmla="*/ 3694535 w 3694535"/>
                <a:gd name="connsiteY20" fmla="*/ 1154721 h 4522819"/>
                <a:gd name="connsiteX21" fmla="*/ 2222205 w 3694535"/>
                <a:gd name="connsiteY21" fmla="*/ 3400990 h 4522819"/>
                <a:gd name="connsiteX22" fmla="*/ 2169042 w 3694535"/>
                <a:gd name="connsiteY22" fmla="*/ 3847557 h 4522819"/>
                <a:gd name="connsiteX23" fmla="*/ 3317358 w 3694535"/>
                <a:gd name="connsiteY23" fmla="*/ 3124543 h 4522819"/>
                <a:gd name="connsiteX24" fmla="*/ 2194317 w 3694535"/>
                <a:gd name="connsiteY24" fmla="*/ 4061420 h 4522819"/>
                <a:gd name="connsiteX25" fmla="*/ 2232838 w 3694535"/>
                <a:gd name="connsiteY25" fmla="*/ 4506776 h 4522819"/>
                <a:gd name="connsiteX26" fmla="*/ 2218194 w 3694535"/>
                <a:gd name="connsiteY26" fmla="*/ 4521884 h 4522819"/>
                <a:gd name="connsiteX27" fmla="*/ 1743740 w 3694535"/>
                <a:gd name="connsiteY27" fmla="*/ 4522819 h 4522819"/>
                <a:gd name="connsiteX0" fmla="*/ 1743740 w 3694535"/>
                <a:gd name="connsiteY0" fmla="*/ 4522819 h 4522819"/>
                <a:gd name="connsiteX1" fmla="*/ 1796903 w 3694535"/>
                <a:gd name="connsiteY1" fmla="*/ 3815659 h 4522819"/>
                <a:gd name="connsiteX2" fmla="*/ 1307805 w 3694535"/>
                <a:gd name="connsiteY2" fmla="*/ 3411622 h 4522819"/>
                <a:gd name="connsiteX3" fmla="*/ 31898 w 3694535"/>
                <a:gd name="connsiteY3" fmla="*/ 2975687 h 4522819"/>
                <a:gd name="connsiteX4" fmla="*/ 1127052 w 3694535"/>
                <a:gd name="connsiteY4" fmla="*/ 3273399 h 4522819"/>
                <a:gd name="connsiteX5" fmla="*/ 393405 w 3694535"/>
                <a:gd name="connsiteY5" fmla="*/ 2486590 h 4522819"/>
                <a:gd name="connsiteX6" fmla="*/ 1775638 w 3694535"/>
                <a:gd name="connsiteY6" fmla="*/ 3549845 h 4522819"/>
                <a:gd name="connsiteX7" fmla="*/ 1679945 w 3694535"/>
                <a:gd name="connsiteY7" fmla="*/ 2422794 h 4522819"/>
                <a:gd name="connsiteX8" fmla="*/ 0 w 3694535"/>
                <a:gd name="connsiteY8" fmla="*/ 785380 h 4522819"/>
                <a:gd name="connsiteX9" fmla="*/ 988828 w 3694535"/>
                <a:gd name="connsiteY9" fmla="*/ 1954962 h 4522819"/>
                <a:gd name="connsiteX10" fmla="*/ 1137684 w 3694535"/>
                <a:gd name="connsiteY10" fmla="*/ 891706 h 4522819"/>
                <a:gd name="connsiteX11" fmla="*/ 1222745 w 3694535"/>
                <a:gd name="connsiteY11" fmla="*/ 2093185 h 4522819"/>
                <a:gd name="connsiteX12" fmla="*/ 1690577 w 3694535"/>
                <a:gd name="connsiteY12" fmla="*/ 2220776 h 4522819"/>
                <a:gd name="connsiteX13" fmla="*/ 1956391 w 3694535"/>
                <a:gd name="connsiteY13" fmla="*/ 30469 h 4522819"/>
                <a:gd name="connsiteX14" fmla="*/ 2027834 w 3694535"/>
                <a:gd name="connsiteY14" fmla="*/ 1016685 h 4522819"/>
                <a:gd name="connsiteX15" fmla="*/ 1881963 w 3694535"/>
                <a:gd name="connsiteY15" fmla="*/ 2090854 h 4522819"/>
                <a:gd name="connsiteX16" fmla="*/ 2057494 w 3694535"/>
                <a:gd name="connsiteY16" fmla="*/ 3076790 h 4522819"/>
                <a:gd name="connsiteX17" fmla="*/ 2647507 w 3694535"/>
                <a:gd name="connsiteY17" fmla="*/ 2550385 h 4522819"/>
                <a:gd name="connsiteX18" fmla="*/ 2913694 w 3694535"/>
                <a:gd name="connsiteY18" fmla="*/ 1322231 h 4522819"/>
                <a:gd name="connsiteX19" fmla="*/ 2806809 w 3694535"/>
                <a:gd name="connsiteY19" fmla="*/ 2413560 h 4522819"/>
                <a:gd name="connsiteX20" fmla="*/ 3694535 w 3694535"/>
                <a:gd name="connsiteY20" fmla="*/ 1154721 h 4522819"/>
                <a:gd name="connsiteX21" fmla="*/ 2222205 w 3694535"/>
                <a:gd name="connsiteY21" fmla="*/ 3400990 h 4522819"/>
                <a:gd name="connsiteX22" fmla="*/ 2169042 w 3694535"/>
                <a:gd name="connsiteY22" fmla="*/ 3847557 h 4522819"/>
                <a:gd name="connsiteX23" fmla="*/ 3317358 w 3694535"/>
                <a:gd name="connsiteY23" fmla="*/ 3124543 h 4522819"/>
                <a:gd name="connsiteX24" fmla="*/ 2194317 w 3694535"/>
                <a:gd name="connsiteY24" fmla="*/ 4061420 h 4522819"/>
                <a:gd name="connsiteX25" fmla="*/ 2232838 w 3694535"/>
                <a:gd name="connsiteY25" fmla="*/ 4506776 h 4522819"/>
                <a:gd name="connsiteX26" fmla="*/ 2218194 w 3694535"/>
                <a:gd name="connsiteY26" fmla="*/ 4521884 h 4522819"/>
                <a:gd name="connsiteX27" fmla="*/ 1743740 w 3694535"/>
                <a:gd name="connsiteY27" fmla="*/ 4522819 h 4522819"/>
                <a:gd name="connsiteX0" fmla="*/ 1743740 w 3694535"/>
                <a:gd name="connsiteY0" fmla="*/ 4522814 h 4522814"/>
                <a:gd name="connsiteX1" fmla="*/ 1796903 w 3694535"/>
                <a:gd name="connsiteY1" fmla="*/ 3815654 h 4522814"/>
                <a:gd name="connsiteX2" fmla="*/ 1307805 w 3694535"/>
                <a:gd name="connsiteY2" fmla="*/ 3411617 h 4522814"/>
                <a:gd name="connsiteX3" fmla="*/ 31898 w 3694535"/>
                <a:gd name="connsiteY3" fmla="*/ 2975682 h 4522814"/>
                <a:gd name="connsiteX4" fmla="*/ 1127052 w 3694535"/>
                <a:gd name="connsiteY4" fmla="*/ 3273394 h 4522814"/>
                <a:gd name="connsiteX5" fmla="*/ 393405 w 3694535"/>
                <a:gd name="connsiteY5" fmla="*/ 2486585 h 4522814"/>
                <a:gd name="connsiteX6" fmla="*/ 1775638 w 3694535"/>
                <a:gd name="connsiteY6" fmla="*/ 3549840 h 4522814"/>
                <a:gd name="connsiteX7" fmla="*/ 1679945 w 3694535"/>
                <a:gd name="connsiteY7" fmla="*/ 2422789 h 4522814"/>
                <a:gd name="connsiteX8" fmla="*/ 0 w 3694535"/>
                <a:gd name="connsiteY8" fmla="*/ 785375 h 4522814"/>
                <a:gd name="connsiteX9" fmla="*/ 988828 w 3694535"/>
                <a:gd name="connsiteY9" fmla="*/ 1954957 h 4522814"/>
                <a:gd name="connsiteX10" fmla="*/ 1137684 w 3694535"/>
                <a:gd name="connsiteY10" fmla="*/ 891701 h 4522814"/>
                <a:gd name="connsiteX11" fmla="*/ 1222745 w 3694535"/>
                <a:gd name="connsiteY11" fmla="*/ 2093180 h 4522814"/>
                <a:gd name="connsiteX12" fmla="*/ 1690577 w 3694535"/>
                <a:gd name="connsiteY12" fmla="*/ 2220771 h 4522814"/>
                <a:gd name="connsiteX13" fmla="*/ 1956391 w 3694535"/>
                <a:gd name="connsiteY13" fmla="*/ 30464 h 4522814"/>
                <a:gd name="connsiteX14" fmla="*/ 2027834 w 3694535"/>
                <a:gd name="connsiteY14" fmla="*/ 1016680 h 4522814"/>
                <a:gd name="connsiteX15" fmla="*/ 1881963 w 3694535"/>
                <a:gd name="connsiteY15" fmla="*/ 2090849 h 4522814"/>
                <a:gd name="connsiteX16" fmla="*/ 2057494 w 3694535"/>
                <a:gd name="connsiteY16" fmla="*/ 3076785 h 4522814"/>
                <a:gd name="connsiteX17" fmla="*/ 2647507 w 3694535"/>
                <a:gd name="connsiteY17" fmla="*/ 2550380 h 4522814"/>
                <a:gd name="connsiteX18" fmla="*/ 2913694 w 3694535"/>
                <a:gd name="connsiteY18" fmla="*/ 1322226 h 4522814"/>
                <a:gd name="connsiteX19" fmla="*/ 2806809 w 3694535"/>
                <a:gd name="connsiteY19" fmla="*/ 2413555 h 4522814"/>
                <a:gd name="connsiteX20" fmla="*/ 3694535 w 3694535"/>
                <a:gd name="connsiteY20" fmla="*/ 1154716 h 4522814"/>
                <a:gd name="connsiteX21" fmla="*/ 2222205 w 3694535"/>
                <a:gd name="connsiteY21" fmla="*/ 3400985 h 4522814"/>
                <a:gd name="connsiteX22" fmla="*/ 2169042 w 3694535"/>
                <a:gd name="connsiteY22" fmla="*/ 3847552 h 4522814"/>
                <a:gd name="connsiteX23" fmla="*/ 3317358 w 3694535"/>
                <a:gd name="connsiteY23" fmla="*/ 3124538 h 4522814"/>
                <a:gd name="connsiteX24" fmla="*/ 2194317 w 3694535"/>
                <a:gd name="connsiteY24" fmla="*/ 4061415 h 4522814"/>
                <a:gd name="connsiteX25" fmla="*/ 2232838 w 3694535"/>
                <a:gd name="connsiteY25" fmla="*/ 4506771 h 4522814"/>
                <a:gd name="connsiteX26" fmla="*/ 2218194 w 3694535"/>
                <a:gd name="connsiteY26" fmla="*/ 4521879 h 4522814"/>
                <a:gd name="connsiteX27" fmla="*/ 1743740 w 3694535"/>
                <a:gd name="connsiteY27" fmla="*/ 4522814 h 4522814"/>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093568 w 3694535"/>
                <a:gd name="connsiteY10" fmla="*/ 857226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093568 w 3694535"/>
                <a:gd name="connsiteY10" fmla="*/ 857226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19873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03018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03018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21509 w 3638574"/>
                <a:gd name="connsiteY22" fmla="*/ 3808660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38574" h="4492350">
                  <a:moveTo>
                    <a:pt x="1687779" y="4492350"/>
                  </a:moveTo>
                  <a:cubicBezTo>
                    <a:pt x="1649353" y="4280693"/>
                    <a:pt x="1685297" y="4020910"/>
                    <a:pt x="1703018" y="3785190"/>
                  </a:cubicBezTo>
                  <a:lnTo>
                    <a:pt x="1239812" y="3369121"/>
                  </a:lnTo>
                  <a:cubicBezTo>
                    <a:pt x="710236" y="3436368"/>
                    <a:pt x="325039" y="3138656"/>
                    <a:pt x="0" y="2917145"/>
                  </a:cubicBezTo>
                  <a:cubicBezTo>
                    <a:pt x="370399" y="3119320"/>
                    <a:pt x="1037576" y="3333525"/>
                    <a:pt x="1087133" y="3238920"/>
                  </a:cubicBezTo>
                  <a:cubicBezTo>
                    <a:pt x="945521" y="3141082"/>
                    <a:pt x="539214" y="2730422"/>
                    <a:pt x="389581" y="2412005"/>
                  </a:cubicBezTo>
                  <a:cubicBezTo>
                    <a:pt x="859682" y="2946896"/>
                    <a:pt x="1430048" y="3277253"/>
                    <a:pt x="1719677" y="3519376"/>
                  </a:cubicBezTo>
                  <a:cubicBezTo>
                    <a:pt x="1735906" y="3304113"/>
                    <a:pt x="1659893" y="2776030"/>
                    <a:pt x="1627995" y="2400346"/>
                  </a:cubicBezTo>
                  <a:cubicBezTo>
                    <a:pt x="725782" y="2160678"/>
                    <a:pt x="172484" y="1536000"/>
                    <a:pt x="4198" y="742880"/>
                  </a:cubicBezTo>
                  <a:cubicBezTo>
                    <a:pt x="248250" y="1210277"/>
                    <a:pt x="456205" y="1649601"/>
                    <a:pt x="932867" y="1924493"/>
                  </a:cubicBezTo>
                  <a:cubicBezTo>
                    <a:pt x="1158949" y="1666327"/>
                    <a:pt x="1108304" y="1211645"/>
                    <a:pt x="1037607" y="857226"/>
                  </a:cubicBezTo>
                  <a:cubicBezTo>
                    <a:pt x="1222371" y="1153446"/>
                    <a:pt x="1266767" y="1586023"/>
                    <a:pt x="1138710" y="2026621"/>
                  </a:cubicBezTo>
                  <a:cubicBezTo>
                    <a:pt x="1250538" y="2109256"/>
                    <a:pt x="1570304" y="2252254"/>
                    <a:pt x="1646038" y="2198532"/>
                  </a:cubicBezTo>
                  <a:cubicBezTo>
                    <a:pt x="1690527" y="1476450"/>
                    <a:pt x="1904067" y="874481"/>
                    <a:pt x="1900430" y="0"/>
                  </a:cubicBezTo>
                  <a:cubicBezTo>
                    <a:pt x="1976693" y="192349"/>
                    <a:pt x="2015482" y="645373"/>
                    <a:pt x="1971873" y="986216"/>
                  </a:cubicBezTo>
                  <a:cubicBezTo>
                    <a:pt x="1947436" y="1177213"/>
                    <a:pt x="1846749" y="1657958"/>
                    <a:pt x="1826002" y="2060385"/>
                  </a:cubicBezTo>
                  <a:cubicBezTo>
                    <a:pt x="1811014" y="2351099"/>
                    <a:pt x="1951043" y="3007770"/>
                    <a:pt x="2001533" y="3046321"/>
                  </a:cubicBezTo>
                  <a:cubicBezTo>
                    <a:pt x="2041794" y="3055338"/>
                    <a:pt x="2575349" y="2567047"/>
                    <a:pt x="2591546" y="2519916"/>
                  </a:cubicBezTo>
                  <a:cubicBezTo>
                    <a:pt x="2482423" y="2107858"/>
                    <a:pt x="2569814" y="1503293"/>
                    <a:pt x="2857733" y="1291762"/>
                  </a:cubicBezTo>
                  <a:cubicBezTo>
                    <a:pt x="2648315" y="1639496"/>
                    <a:pt x="2663487" y="2195777"/>
                    <a:pt x="2750848" y="2383091"/>
                  </a:cubicBezTo>
                  <a:cubicBezTo>
                    <a:pt x="3066810" y="2282983"/>
                    <a:pt x="3503085" y="1513118"/>
                    <a:pt x="3638574" y="1124252"/>
                  </a:cubicBezTo>
                  <a:cubicBezTo>
                    <a:pt x="3492704" y="2254009"/>
                    <a:pt x="2460505" y="2814271"/>
                    <a:pt x="2166244" y="3370521"/>
                  </a:cubicBezTo>
                  <a:cubicBezTo>
                    <a:pt x="2148523" y="3519377"/>
                    <a:pt x="2147251" y="3667825"/>
                    <a:pt x="2121509" y="3808660"/>
                  </a:cubicBezTo>
                  <a:cubicBezTo>
                    <a:pt x="2452144" y="3808286"/>
                    <a:pt x="3159362" y="3298984"/>
                    <a:pt x="3261397" y="3094074"/>
                  </a:cubicBezTo>
                  <a:cubicBezTo>
                    <a:pt x="3262702" y="3429094"/>
                    <a:pt x="2493987" y="3820258"/>
                    <a:pt x="2138356" y="4030951"/>
                  </a:cubicBezTo>
                  <a:cubicBezTo>
                    <a:pt x="2116438" y="4040371"/>
                    <a:pt x="2182753" y="4334539"/>
                    <a:pt x="2176877" y="4476307"/>
                  </a:cubicBezTo>
                  <a:cubicBezTo>
                    <a:pt x="2170659" y="4477332"/>
                    <a:pt x="2168451" y="4490390"/>
                    <a:pt x="2162233" y="4491415"/>
                  </a:cubicBezTo>
                  <a:lnTo>
                    <a:pt x="1687779" y="4492350"/>
                  </a:lnTo>
                  <a:close/>
                </a:path>
              </a:pathLst>
            </a:cu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10" name="椭圆 9"/>
            <p:cNvSpPr>
              <a:spLocks noChangeAspect="1"/>
            </p:cNvSpPr>
            <p:nvPr/>
          </p:nvSpPr>
          <p:spPr>
            <a:xfrm>
              <a:off x="3067346" y="649312"/>
              <a:ext cx="576000" cy="576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a:solidFill>
                    <a:srgbClr val="FFFFFF"/>
                  </a:solidFill>
                  <a:latin typeface="微软雅黑" panose="020B0503020204020204" pitchFamily="34" charset="-122"/>
                  <a:ea typeface="微软雅黑" panose="020B0503020204020204" pitchFamily="34" charset="-122"/>
                </a:rPr>
                <a:t>标题</a:t>
              </a:r>
            </a:p>
          </p:txBody>
        </p:sp>
        <p:sp>
          <p:nvSpPr>
            <p:cNvPr id="11" name="椭圆 10"/>
            <p:cNvSpPr>
              <a:spLocks noChangeAspect="1"/>
            </p:cNvSpPr>
            <p:nvPr/>
          </p:nvSpPr>
          <p:spPr>
            <a:xfrm>
              <a:off x="4841930" y="1772770"/>
              <a:ext cx="576000" cy="576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3" dirty="0">
                  <a:solidFill>
                    <a:srgbClr val="FFFFFF"/>
                  </a:solidFill>
                  <a:latin typeface="微软雅黑" panose="020B0503020204020204" pitchFamily="34" charset="-122"/>
                  <a:ea typeface="微软雅黑" panose="020B0503020204020204" pitchFamily="34" charset="-122"/>
                </a:rPr>
                <a:t>标题</a:t>
              </a:r>
            </a:p>
          </p:txBody>
        </p:sp>
        <p:sp>
          <p:nvSpPr>
            <p:cNvPr id="12" name="椭圆 11"/>
            <p:cNvSpPr>
              <a:spLocks noChangeAspect="1"/>
            </p:cNvSpPr>
            <p:nvPr/>
          </p:nvSpPr>
          <p:spPr>
            <a:xfrm>
              <a:off x="1203356" y="1393823"/>
              <a:ext cx="576000" cy="576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825" dirty="0">
                  <a:solidFill>
                    <a:srgbClr val="FFFFFF"/>
                  </a:solidFill>
                  <a:latin typeface="微软雅黑" panose="020B0503020204020204" pitchFamily="34" charset="-122"/>
                  <a:ea typeface="微软雅黑" panose="020B0503020204020204" pitchFamily="34" charset="-122"/>
                </a:rPr>
                <a:t>标题</a:t>
              </a:r>
            </a:p>
          </p:txBody>
        </p:sp>
        <p:sp>
          <p:nvSpPr>
            <p:cNvPr id="13" name="椭圆 12"/>
            <p:cNvSpPr>
              <a:spLocks noChangeAspect="1"/>
            </p:cNvSpPr>
            <p:nvPr/>
          </p:nvSpPr>
          <p:spPr>
            <a:xfrm>
              <a:off x="1141364" y="3598492"/>
              <a:ext cx="576000" cy="57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a:solidFill>
                    <a:srgbClr val="FFFFFF"/>
                  </a:solidFill>
                  <a:latin typeface="微软雅黑" panose="020B0503020204020204" pitchFamily="34" charset="-122"/>
                  <a:ea typeface="微软雅黑" panose="020B0503020204020204" pitchFamily="34" charset="-122"/>
                </a:rPr>
                <a:t>标题</a:t>
              </a:r>
            </a:p>
          </p:txBody>
        </p:sp>
        <p:sp>
          <p:nvSpPr>
            <p:cNvPr id="14" name="椭圆 13"/>
            <p:cNvSpPr>
              <a:spLocks noChangeAspect="1"/>
            </p:cNvSpPr>
            <p:nvPr/>
          </p:nvSpPr>
          <p:spPr>
            <a:xfrm>
              <a:off x="4553930" y="3743424"/>
              <a:ext cx="576000" cy="576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a:solidFill>
                    <a:srgbClr val="FFFFFF"/>
                  </a:solidFill>
                  <a:latin typeface="微软雅黑" panose="020B0503020204020204" pitchFamily="34" charset="-122"/>
                  <a:ea typeface="微软雅黑" panose="020B0503020204020204" pitchFamily="34" charset="-122"/>
                </a:rPr>
                <a:t>标题</a:t>
              </a:r>
            </a:p>
          </p:txBody>
        </p:sp>
        <p:sp>
          <p:nvSpPr>
            <p:cNvPr id="15" name="椭圆 14"/>
            <p:cNvSpPr>
              <a:spLocks noChangeAspect="1"/>
            </p:cNvSpPr>
            <p:nvPr/>
          </p:nvSpPr>
          <p:spPr>
            <a:xfrm>
              <a:off x="4008926" y="1985321"/>
              <a:ext cx="576000" cy="57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a:solidFill>
                    <a:srgbClr val="FFFFFF"/>
                  </a:solidFill>
                  <a:latin typeface="微软雅黑" panose="020B0503020204020204" pitchFamily="34" charset="-122"/>
                  <a:ea typeface="微软雅黑" panose="020B0503020204020204" pitchFamily="34" charset="-122"/>
                </a:rPr>
                <a:t>标题</a:t>
              </a:r>
            </a:p>
          </p:txBody>
        </p:sp>
        <p:sp>
          <p:nvSpPr>
            <p:cNvPr id="16" name="椭圆 15"/>
            <p:cNvSpPr>
              <a:spLocks noChangeAspect="1"/>
            </p:cNvSpPr>
            <p:nvPr/>
          </p:nvSpPr>
          <p:spPr>
            <a:xfrm>
              <a:off x="2253739" y="1550864"/>
              <a:ext cx="576000" cy="576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a:solidFill>
                    <a:srgbClr val="FFFFFF"/>
                  </a:solidFill>
                  <a:latin typeface="微软雅黑" panose="020B0503020204020204" pitchFamily="34" charset="-122"/>
                  <a:ea typeface="微软雅黑" panose="020B0503020204020204" pitchFamily="34" charset="-122"/>
                </a:rPr>
                <a:t>标题</a:t>
              </a:r>
            </a:p>
          </p:txBody>
        </p:sp>
        <p:sp>
          <p:nvSpPr>
            <p:cNvPr id="17" name="椭圆 16"/>
            <p:cNvSpPr>
              <a:spLocks noChangeAspect="1"/>
            </p:cNvSpPr>
            <p:nvPr/>
          </p:nvSpPr>
          <p:spPr>
            <a:xfrm>
              <a:off x="3379361" y="2780910"/>
              <a:ext cx="288000" cy="288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18" name="椭圆 17"/>
            <p:cNvSpPr>
              <a:spLocks noChangeAspect="1"/>
            </p:cNvSpPr>
            <p:nvPr/>
          </p:nvSpPr>
          <p:spPr>
            <a:xfrm>
              <a:off x="4512681" y="2699148"/>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19" name="椭圆 18"/>
            <p:cNvSpPr>
              <a:spLocks noChangeAspect="1"/>
            </p:cNvSpPr>
            <p:nvPr/>
          </p:nvSpPr>
          <p:spPr>
            <a:xfrm>
              <a:off x="3012542" y="2126864"/>
              <a:ext cx="288000" cy="288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0" name="椭圆 19"/>
            <p:cNvSpPr>
              <a:spLocks noChangeAspect="1"/>
            </p:cNvSpPr>
            <p:nvPr/>
          </p:nvSpPr>
          <p:spPr>
            <a:xfrm>
              <a:off x="1996735" y="2576819"/>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1" name="椭圆 20"/>
            <p:cNvSpPr>
              <a:spLocks noChangeAspect="1"/>
            </p:cNvSpPr>
            <p:nvPr/>
          </p:nvSpPr>
          <p:spPr>
            <a:xfrm>
              <a:off x="1828224" y="3455424"/>
              <a:ext cx="288000" cy="288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2" name="椭圆 21"/>
            <p:cNvSpPr>
              <a:spLocks noChangeAspect="1"/>
            </p:cNvSpPr>
            <p:nvPr/>
          </p:nvSpPr>
          <p:spPr>
            <a:xfrm>
              <a:off x="2588233" y="4077918"/>
              <a:ext cx="288000" cy="288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3" name="椭圆 22"/>
            <p:cNvSpPr>
              <a:spLocks noChangeAspect="1"/>
            </p:cNvSpPr>
            <p:nvPr/>
          </p:nvSpPr>
          <p:spPr>
            <a:xfrm>
              <a:off x="3516909" y="3743424"/>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4" name="椭圆 23"/>
            <p:cNvSpPr>
              <a:spLocks noChangeAspect="1"/>
            </p:cNvSpPr>
            <p:nvPr/>
          </p:nvSpPr>
          <p:spPr>
            <a:xfrm>
              <a:off x="3954758" y="4550164"/>
              <a:ext cx="288000" cy="288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grpSp>
      <p:sp>
        <p:nvSpPr>
          <p:cNvPr id="25" name="文本框 24"/>
          <p:cNvSpPr txBox="1"/>
          <p:nvPr/>
        </p:nvSpPr>
        <p:spPr>
          <a:xfrm>
            <a:off x="4678630" y="1777499"/>
            <a:ext cx="3209516" cy="632481"/>
          </a:xfrm>
          <a:prstGeom prst="rect">
            <a:avLst/>
          </a:prstGeom>
          <a:noFill/>
        </p:spPr>
        <p:txBody>
          <a:bodyPr wrap="square" rtlCol="0">
            <a:spAutoFit/>
          </a:bodyPr>
          <a:lstStyle/>
          <a:p>
            <a:pPr>
              <a:lnSpc>
                <a:spcPct val="130000"/>
              </a:lnSpc>
            </a:pPr>
            <a:r>
              <a:rPr lang="zh-CN" altLang="en-US" sz="900" dirty="0">
                <a:solidFill>
                  <a:schemeClr val="bg2">
                    <a:lumMod val="25000"/>
                  </a:schemeClr>
                </a:solidFill>
                <a:latin typeface="微软雅黑" panose="020B0503020204020204" pitchFamily="34" charset="-122"/>
                <a:ea typeface="微软雅黑" panose="020B0503020204020204" pitchFamily="34" charset="-122"/>
              </a:rPr>
              <a:t>点击添加正文、温馨提示正文行距在</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之间点击添加正文、温馨提示正文行距在</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之间</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之间点击添加正文、温馨提示正文行距在</a:t>
            </a:r>
          </a:p>
        </p:txBody>
      </p:sp>
      <p:sp>
        <p:nvSpPr>
          <p:cNvPr id="26" name="矩形 25"/>
          <p:cNvSpPr/>
          <p:nvPr/>
        </p:nvSpPr>
        <p:spPr>
          <a:xfrm>
            <a:off x="4678629" y="1500500"/>
            <a:ext cx="1223412" cy="248209"/>
          </a:xfrm>
          <a:prstGeom prst="rect">
            <a:avLst/>
          </a:prstGeom>
        </p:spPr>
        <p:txBody>
          <a:bodyPr wrap="none">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点击此处添加标题</a:t>
            </a:r>
          </a:p>
        </p:txBody>
      </p:sp>
      <p:sp>
        <p:nvSpPr>
          <p:cNvPr id="27" name="文本框 26"/>
          <p:cNvSpPr txBox="1"/>
          <p:nvPr/>
        </p:nvSpPr>
        <p:spPr>
          <a:xfrm>
            <a:off x="4682894" y="2998444"/>
            <a:ext cx="3209516" cy="632481"/>
          </a:xfrm>
          <a:prstGeom prst="rect">
            <a:avLst/>
          </a:prstGeom>
          <a:noFill/>
        </p:spPr>
        <p:txBody>
          <a:bodyPr wrap="square" rtlCol="0">
            <a:spAutoFit/>
          </a:bodyPr>
          <a:lstStyle/>
          <a:p>
            <a:pPr>
              <a:lnSpc>
                <a:spcPct val="130000"/>
              </a:lnSpc>
            </a:pPr>
            <a:r>
              <a:rPr lang="zh-CN" altLang="en-US" sz="900" dirty="0">
                <a:solidFill>
                  <a:schemeClr val="bg2">
                    <a:lumMod val="25000"/>
                  </a:schemeClr>
                </a:solidFill>
                <a:latin typeface="微软雅黑" panose="020B0503020204020204" pitchFamily="34" charset="-122"/>
                <a:ea typeface="微软雅黑" panose="020B0503020204020204" pitchFamily="34" charset="-122"/>
              </a:rPr>
              <a:t>点击添加正文、温馨提示正文行距在</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之间点击添加正文、温馨提示正文行距在</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之间</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之间点击添加正文、温馨提示正文行距在</a:t>
            </a:r>
          </a:p>
        </p:txBody>
      </p:sp>
      <p:sp>
        <p:nvSpPr>
          <p:cNvPr id="28" name="矩形 27"/>
          <p:cNvSpPr/>
          <p:nvPr/>
        </p:nvSpPr>
        <p:spPr>
          <a:xfrm>
            <a:off x="4682893" y="2721445"/>
            <a:ext cx="1223412" cy="248209"/>
          </a:xfrm>
          <a:prstGeom prst="rect">
            <a:avLst/>
          </a:prstGeom>
        </p:spPr>
        <p:txBody>
          <a:bodyPr wrap="none">
            <a:spAutoFit/>
          </a:bodyPr>
          <a:lstStyle/>
          <a:p>
            <a:r>
              <a:rPr lang="zh-CN" altLang="en-US" sz="1013">
                <a:latin typeface="微软雅黑" panose="020B0503020204020204" pitchFamily="34" charset="-122"/>
                <a:ea typeface="微软雅黑" panose="020B0503020204020204" pitchFamily="34" charset="-122"/>
              </a:rPr>
              <a:t>点击此处添加标题</a:t>
            </a:r>
          </a:p>
        </p:txBody>
      </p:sp>
      <p:pic>
        <p:nvPicPr>
          <p:cNvPr id="30" name="图片 29">
            <a:extLst>
              <a:ext uri="{FF2B5EF4-FFF2-40B4-BE49-F238E27FC236}">
                <a16:creationId xmlns:a16="http://schemas.microsoft.com/office/drawing/2014/main" id="{77134B0A-B559-4652-B2FD-5FF6564A4E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30644" y="3869669"/>
            <a:ext cx="1258315" cy="1022834"/>
          </a:xfrm>
          <a:prstGeom prst="rect">
            <a:avLst/>
          </a:prstGeom>
        </p:spPr>
      </p:pic>
      <p:grpSp>
        <p:nvGrpSpPr>
          <p:cNvPr id="31" name="组合 30">
            <a:extLst>
              <a:ext uri="{FF2B5EF4-FFF2-40B4-BE49-F238E27FC236}">
                <a16:creationId xmlns:a16="http://schemas.microsoft.com/office/drawing/2014/main" id="{7D6D232B-2F24-47DF-97F1-B19532976385}"/>
              </a:ext>
            </a:extLst>
          </p:cNvPr>
          <p:cNvGrpSpPr/>
          <p:nvPr/>
        </p:nvGrpSpPr>
        <p:grpSpPr>
          <a:xfrm>
            <a:off x="4678629" y="376512"/>
            <a:ext cx="4122747" cy="788287"/>
            <a:chOff x="4572000" y="372139"/>
            <a:chExt cx="4122747" cy="788287"/>
          </a:xfrm>
        </p:grpSpPr>
        <p:grpSp>
          <p:nvGrpSpPr>
            <p:cNvPr id="32" name="组合 31">
              <a:extLst>
                <a:ext uri="{FF2B5EF4-FFF2-40B4-BE49-F238E27FC236}">
                  <a16:creationId xmlns:a16="http://schemas.microsoft.com/office/drawing/2014/main" id="{9ADA123E-D016-4B19-99EB-B0B7B5CD59B2}"/>
                </a:ext>
              </a:extLst>
            </p:cNvPr>
            <p:cNvGrpSpPr/>
            <p:nvPr/>
          </p:nvGrpSpPr>
          <p:grpSpPr>
            <a:xfrm>
              <a:off x="4572000" y="372139"/>
              <a:ext cx="3524752" cy="788287"/>
              <a:chOff x="4932040" y="411510"/>
              <a:chExt cx="3524752" cy="788287"/>
            </a:xfrm>
          </p:grpSpPr>
          <p:sp>
            <p:nvSpPr>
              <p:cNvPr id="34" name="Text Placeholder 8">
                <a:extLst>
                  <a:ext uri="{FF2B5EF4-FFF2-40B4-BE49-F238E27FC236}">
                    <a16:creationId xmlns:a16="http://schemas.microsoft.com/office/drawing/2014/main" id="{D1B089DF-9E5B-42E4-A4B1-334C7DAD71A0}"/>
                  </a:ext>
                </a:extLst>
              </p:cNvPr>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600" dirty="0">
                    <a:solidFill>
                      <a:schemeClr val="tx2"/>
                    </a:solidFill>
                    <a:latin typeface="微软雅黑" panose="020B0503020204020204" pitchFamily="34" charset="-122"/>
                    <a:ea typeface="微软雅黑" panose="020B0503020204020204" pitchFamily="34" charset="-122"/>
                  </a:rPr>
                  <a:t>标题内容</a:t>
                </a:r>
                <a:endParaRPr lang="en-US" altLang="zh-CN" sz="2600" dirty="0">
                  <a:solidFill>
                    <a:schemeClr val="tx2"/>
                  </a:solidFill>
                  <a:latin typeface="微软雅黑" panose="020B0503020204020204" pitchFamily="34" charset="-122"/>
                  <a:ea typeface="微软雅黑" panose="020B0503020204020204" pitchFamily="34" charset="-122"/>
                </a:endParaRPr>
              </a:p>
            </p:txBody>
          </p:sp>
          <p:sp>
            <p:nvSpPr>
              <p:cNvPr id="35" name="Text Placeholder 9">
                <a:extLst>
                  <a:ext uri="{FF2B5EF4-FFF2-40B4-BE49-F238E27FC236}">
                    <a16:creationId xmlns:a16="http://schemas.microsoft.com/office/drawing/2014/main" id="{0305689B-D42D-48B8-887B-A2984A1C16CB}"/>
                  </a:ext>
                </a:extLst>
              </p:cNvPr>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400" dirty="0">
                    <a:solidFill>
                      <a:schemeClr val="accent1"/>
                    </a:solidFill>
                    <a:latin typeface="微软雅黑" panose="020B0503020204020204" pitchFamily="34" charset="-122"/>
                    <a:ea typeface="微软雅黑" panose="020B0503020204020204" pitchFamily="34" charset="-122"/>
                  </a:rPr>
                  <a:t>单击此处添加副标题</a:t>
                </a:r>
                <a:endParaRPr lang="en-US" altLang="zh-CN" sz="1400" dirty="0">
                  <a:solidFill>
                    <a:schemeClr val="accent1"/>
                  </a:solidFill>
                  <a:latin typeface="微软雅黑" panose="020B0503020204020204" pitchFamily="34" charset="-122"/>
                  <a:ea typeface="微软雅黑" panose="020B0503020204020204" pitchFamily="34" charset="-122"/>
                </a:endParaRPr>
              </a:p>
            </p:txBody>
          </p:sp>
          <p:cxnSp>
            <p:nvCxnSpPr>
              <p:cNvPr id="36" name="Straight Connector 12">
                <a:extLst>
                  <a:ext uri="{FF2B5EF4-FFF2-40B4-BE49-F238E27FC236}">
                    <a16:creationId xmlns:a16="http://schemas.microsoft.com/office/drawing/2014/main" id="{BDBE8D36-7285-4F1C-B08C-F36A6EDF36BF}"/>
                  </a:ext>
                </a:extLst>
              </p:cNvPr>
              <p:cNvCxnSpPr>
                <a:cxnSpLocks/>
              </p:cNvCxnSpPr>
              <p:nvPr/>
            </p:nvCxnSpPr>
            <p:spPr>
              <a:xfrm>
                <a:off x="8456792" y="490922"/>
                <a:ext cx="0" cy="51773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33" name="图片 32">
              <a:extLst>
                <a:ext uri="{FF2B5EF4-FFF2-40B4-BE49-F238E27FC236}">
                  <a16:creationId xmlns:a16="http://schemas.microsoft.com/office/drawing/2014/main" id="{C33DC576-4259-4D10-A08F-BD32BE93B3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6777" y="451551"/>
              <a:ext cx="457970" cy="457359"/>
            </a:xfrm>
            <a:prstGeom prst="rect">
              <a:avLst/>
            </a:prstGeom>
          </p:spPr>
        </p:pic>
      </p:grpSp>
    </p:spTree>
    <p:extLst>
      <p:ext uri="{BB962C8B-B14F-4D97-AF65-F5344CB8AC3E}">
        <p14:creationId xmlns:p14="http://schemas.microsoft.com/office/powerpoint/2010/main" val="101937465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1+#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par>
                                <p:cTn id="15" presetID="2" presetClass="entr" presetSubtype="2"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additive="base">
                                        <p:cTn id="17" dur="500" fill="hold"/>
                                        <p:tgtEl>
                                          <p:spTgt spid="26"/>
                                        </p:tgtEl>
                                        <p:attrNameLst>
                                          <p:attrName>ppt_x</p:attrName>
                                        </p:attrNameLst>
                                      </p:cBhvr>
                                      <p:tavLst>
                                        <p:tav tm="0">
                                          <p:val>
                                            <p:strVal val="1+#ppt_w/2"/>
                                          </p:val>
                                        </p:tav>
                                        <p:tav tm="100000">
                                          <p:val>
                                            <p:strVal val="#ppt_x"/>
                                          </p:val>
                                        </p:tav>
                                      </p:tavLst>
                                    </p:anim>
                                    <p:anim calcmode="lin" valueType="num">
                                      <p:cBhvr additive="base">
                                        <p:cTn id="18" dur="500" fill="hold"/>
                                        <p:tgtEl>
                                          <p:spTgt spid="26"/>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2"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500" fill="hold"/>
                                        <p:tgtEl>
                                          <p:spTgt spid="27"/>
                                        </p:tgtEl>
                                        <p:attrNameLst>
                                          <p:attrName>ppt_x</p:attrName>
                                        </p:attrNameLst>
                                      </p:cBhvr>
                                      <p:tavLst>
                                        <p:tav tm="0">
                                          <p:val>
                                            <p:strVal val="1+#ppt_w/2"/>
                                          </p:val>
                                        </p:tav>
                                        <p:tav tm="100000">
                                          <p:val>
                                            <p:strVal val="#ppt_x"/>
                                          </p:val>
                                        </p:tav>
                                      </p:tavLst>
                                    </p:anim>
                                    <p:anim calcmode="lin" valueType="num">
                                      <p:cBhvr additive="base">
                                        <p:cTn id="24" dur="500" fill="hold"/>
                                        <p:tgtEl>
                                          <p:spTgt spid="2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additive="base">
                                        <p:cTn id="27" dur="500" fill="hold"/>
                                        <p:tgtEl>
                                          <p:spTgt spid="28"/>
                                        </p:tgtEl>
                                        <p:attrNameLst>
                                          <p:attrName>ppt_x</p:attrName>
                                        </p:attrNameLst>
                                      </p:cBhvr>
                                      <p:tavLst>
                                        <p:tav tm="0">
                                          <p:val>
                                            <p:strVal val="1+#ppt_w/2"/>
                                          </p:val>
                                        </p:tav>
                                        <p:tav tm="100000">
                                          <p:val>
                                            <p:strVal val="#ppt_x"/>
                                          </p:val>
                                        </p:tav>
                                      </p:tavLst>
                                    </p:anim>
                                    <p:anim calcmode="lin" valueType="num">
                                      <p:cBhvr additive="base">
                                        <p:cTn id="28"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a:extLst>
              <a:ext uri="{FF2B5EF4-FFF2-40B4-BE49-F238E27FC236}">
                <a16:creationId xmlns:a16="http://schemas.microsoft.com/office/drawing/2014/main" id="{5B9831B7-B88D-4FBD-B9AE-21BADD2C474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99365" y="915566"/>
            <a:ext cx="518438" cy="517746"/>
          </a:xfrm>
          <a:prstGeom prst="rect">
            <a:avLst/>
          </a:prstGeom>
        </p:spPr>
      </p:pic>
      <p:grpSp>
        <p:nvGrpSpPr>
          <p:cNvPr id="5" name="组合 4">
            <a:extLst>
              <a:ext uri="{FF2B5EF4-FFF2-40B4-BE49-F238E27FC236}">
                <a16:creationId xmlns:a16="http://schemas.microsoft.com/office/drawing/2014/main" id="{FDCC8BB6-9311-48BE-9888-4E9EDAB7F108}"/>
              </a:ext>
            </a:extLst>
          </p:cNvPr>
          <p:cNvGrpSpPr/>
          <p:nvPr/>
        </p:nvGrpSpPr>
        <p:grpSpPr>
          <a:xfrm rot="18232305" flipH="1">
            <a:off x="-729307" y="1750390"/>
            <a:ext cx="4182609" cy="4724011"/>
            <a:chOff x="-706923" y="1096161"/>
            <a:chExt cx="4582628" cy="5524068"/>
          </a:xfrm>
        </p:grpSpPr>
        <p:pic>
          <p:nvPicPr>
            <p:cNvPr id="2" name="图片 1">
              <a:extLst>
                <a:ext uri="{FF2B5EF4-FFF2-40B4-BE49-F238E27FC236}">
                  <a16:creationId xmlns:a16="http://schemas.microsoft.com/office/drawing/2014/main" id="{AB106E60-5492-4D6B-A8C7-5DA5381FF7A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0583867">
              <a:off x="-706923" y="1096161"/>
              <a:ext cx="4582628" cy="4954232"/>
            </a:xfrm>
            <a:prstGeom prst="rect">
              <a:avLst/>
            </a:prstGeom>
          </p:spPr>
        </p:pic>
        <p:pic>
          <p:nvPicPr>
            <p:cNvPr id="4" name="图片 3">
              <a:extLst>
                <a:ext uri="{FF2B5EF4-FFF2-40B4-BE49-F238E27FC236}">
                  <a16:creationId xmlns:a16="http://schemas.microsoft.com/office/drawing/2014/main" id="{81D864D2-A313-4D3F-A2A7-936D5C6CF4E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2527865">
              <a:off x="294844" y="4137621"/>
              <a:ext cx="2482608" cy="2482608"/>
            </a:xfrm>
            <a:prstGeom prst="rect">
              <a:avLst/>
            </a:prstGeom>
          </p:spPr>
        </p:pic>
      </p:grpSp>
      <p:grpSp>
        <p:nvGrpSpPr>
          <p:cNvPr id="12" name="组合 11">
            <a:extLst>
              <a:ext uri="{FF2B5EF4-FFF2-40B4-BE49-F238E27FC236}">
                <a16:creationId xmlns:a16="http://schemas.microsoft.com/office/drawing/2014/main" id="{674B6AB3-6667-4160-BBC2-B615A14AD9A3}"/>
              </a:ext>
            </a:extLst>
          </p:cNvPr>
          <p:cNvGrpSpPr/>
          <p:nvPr/>
        </p:nvGrpSpPr>
        <p:grpSpPr>
          <a:xfrm rot="7437061" flipH="1">
            <a:off x="5743951" y="-1272848"/>
            <a:ext cx="4182609" cy="4724011"/>
            <a:chOff x="-706923" y="1096161"/>
            <a:chExt cx="4582628" cy="5524068"/>
          </a:xfrm>
        </p:grpSpPr>
        <p:pic>
          <p:nvPicPr>
            <p:cNvPr id="13" name="图片 12">
              <a:extLst>
                <a:ext uri="{FF2B5EF4-FFF2-40B4-BE49-F238E27FC236}">
                  <a16:creationId xmlns:a16="http://schemas.microsoft.com/office/drawing/2014/main" id="{3FB940FB-CCED-44C3-B3AF-42C59B68FD7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0583867">
              <a:off x="-706923" y="1096161"/>
              <a:ext cx="4582628" cy="4954232"/>
            </a:xfrm>
            <a:prstGeom prst="rect">
              <a:avLst/>
            </a:prstGeom>
          </p:spPr>
        </p:pic>
        <p:pic>
          <p:nvPicPr>
            <p:cNvPr id="14" name="图片 13">
              <a:extLst>
                <a:ext uri="{FF2B5EF4-FFF2-40B4-BE49-F238E27FC236}">
                  <a16:creationId xmlns:a16="http://schemas.microsoft.com/office/drawing/2014/main" id="{A7975ACD-5AEB-4E69-A555-3F53236A67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2527865">
              <a:off x="294844" y="4137621"/>
              <a:ext cx="2482608" cy="2482608"/>
            </a:xfrm>
            <a:prstGeom prst="rect">
              <a:avLst/>
            </a:prstGeom>
          </p:spPr>
        </p:pic>
      </p:grpSp>
      <p:sp>
        <p:nvSpPr>
          <p:cNvPr id="16" name="文本框 15">
            <a:extLst>
              <a:ext uri="{FF2B5EF4-FFF2-40B4-BE49-F238E27FC236}">
                <a16:creationId xmlns:a16="http://schemas.microsoft.com/office/drawing/2014/main" id="{CB707873-5F81-42D7-9483-AC941425CEBA}"/>
              </a:ext>
            </a:extLst>
          </p:cNvPr>
          <p:cNvSpPr txBox="1"/>
          <p:nvPr/>
        </p:nvSpPr>
        <p:spPr>
          <a:xfrm>
            <a:off x="2328716" y="2156252"/>
            <a:ext cx="4486568" cy="830997"/>
          </a:xfrm>
          <a:prstGeom prst="rect">
            <a:avLst/>
          </a:prstGeom>
          <a:noFill/>
        </p:spPr>
        <p:txBody>
          <a:bodyPr wrap="square" rtlCol="0">
            <a:spAutoFit/>
          </a:bodyPr>
          <a:lstStyle/>
          <a:p>
            <a:pPr algn="ctr"/>
            <a:r>
              <a:rPr lang="zh-CN" altLang="en-US" sz="4800" b="1" dirty="0">
                <a:ea typeface="演示秋鸿楷" panose="00000500000000000000" pitchFamily="2" charset="-122"/>
              </a:rPr>
              <a:t>感谢聆听</a:t>
            </a:r>
          </a:p>
        </p:txBody>
      </p:sp>
      <p:pic>
        <p:nvPicPr>
          <p:cNvPr id="11" name="图片 10">
            <a:extLst>
              <a:ext uri="{FF2B5EF4-FFF2-40B4-BE49-F238E27FC236}">
                <a16:creationId xmlns:a16="http://schemas.microsoft.com/office/drawing/2014/main" id="{7879E081-6674-4AE6-950D-F035B912912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16216" y="3976598"/>
            <a:ext cx="2317992" cy="956762"/>
          </a:xfrm>
          <a:prstGeom prst="rect">
            <a:avLst/>
          </a:prstGeom>
        </p:spPr>
      </p:pic>
    </p:spTree>
    <p:extLst>
      <p:ext uri="{BB962C8B-B14F-4D97-AF65-F5344CB8AC3E}">
        <p14:creationId xmlns:p14="http://schemas.microsoft.com/office/powerpoint/2010/main" val="38002973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图片 28">
            <a:extLst>
              <a:ext uri="{FF2B5EF4-FFF2-40B4-BE49-F238E27FC236}">
                <a16:creationId xmlns:a16="http://schemas.microsoft.com/office/drawing/2014/main" id="{857E866A-26FA-49F5-952F-1C24C0C18A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9827389">
            <a:off x="-68583" y="3173016"/>
            <a:ext cx="1659888" cy="1659888"/>
          </a:xfrm>
          <a:prstGeom prst="rect">
            <a:avLst/>
          </a:prstGeom>
        </p:spPr>
      </p:pic>
      <p:sp>
        <p:nvSpPr>
          <p:cNvPr id="2" name="圆角矩形 1"/>
          <p:cNvSpPr/>
          <p:nvPr/>
        </p:nvSpPr>
        <p:spPr>
          <a:xfrm>
            <a:off x="2012491" y="1524643"/>
            <a:ext cx="4670995" cy="468052"/>
          </a:xfrm>
          <a:prstGeom prst="round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3" name="组合 2"/>
          <p:cNvGrpSpPr/>
          <p:nvPr/>
        </p:nvGrpSpPr>
        <p:grpSpPr>
          <a:xfrm>
            <a:off x="2334496" y="1583678"/>
            <a:ext cx="4073941" cy="369332"/>
            <a:chOff x="2167226" y="1730685"/>
            <a:chExt cx="4073941" cy="369332"/>
          </a:xfrm>
        </p:grpSpPr>
        <p:sp>
          <p:nvSpPr>
            <p:cNvPr id="4" name="TextBox 4"/>
            <p:cNvSpPr txBox="1"/>
            <p:nvPr/>
          </p:nvSpPr>
          <p:spPr>
            <a:xfrm>
              <a:off x="2595617" y="1730685"/>
              <a:ext cx="3645550" cy="338554"/>
            </a:xfrm>
            <a:prstGeom prst="rect">
              <a:avLst/>
            </a:prstGeom>
            <a:noFill/>
          </p:spPr>
          <p:txBody>
            <a:bodyPr wrap="none" rtlCol="0">
              <a:spAutoFit/>
            </a:bodyPr>
            <a:lstStyle/>
            <a:p>
              <a:r>
                <a:rPr lang="zh-CN" altLang="en-US" sz="1600" dirty="0">
                  <a:solidFill>
                    <a:schemeClr val="accent1"/>
                  </a:solidFill>
                  <a:latin typeface="微软雅黑" pitchFamily="34" charset="-122"/>
                  <a:ea typeface="微软雅黑" pitchFamily="34" charset="-122"/>
                </a:rPr>
                <a:t>添加目录一标题 </a:t>
              </a:r>
              <a:r>
                <a:rPr lang="en-US" altLang="zh-CN" sz="1100" dirty="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5" name="椭圆 4"/>
            <p:cNvSpPr/>
            <p:nvPr/>
          </p:nvSpPr>
          <p:spPr>
            <a:xfrm>
              <a:off x="2195969" y="1730685"/>
              <a:ext cx="369332" cy="369332"/>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6" name="TextBox 4"/>
            <p:cNvSpPr txBox="1"/>
            <p:nvPr/>
          </p:nvSpPr>
          <p:spPr>
            <a:xfrm>
              <a:off x="2167226" y="1750528"/>
              <a:ext cx="425116" cy="338554"/>
            </a:xfrm>
            <a:prstGeom prst="rect">
              <a:avLst/>
            </a:prstGeom>
            <a:noFill/>
          </p:spPr>
          <p:txBody>
            <a:bodyPr wrap="none" rtlCol="0">
              <a:spAutoFit/>
            </a:bodyPr>
            <a:lstStyle/>
            <a:p>
              <a:r>
                <a:rPr lang="en-US" altLang="zh-CN" sz="1600" dirty="0">
                  <a:solidFill>
                    <a:srgbClr val="FFFFFF"/>
                  </a:solidFill>
                  <a:latin typeface="微软雅黑" pitchFamily="34" charset="-122"/>
                  <a:ea typeface="微软雅黑" pitchFamily="34" charset="-122"/>
                </a:rPr>
                <a:t>01</a:t>
              </a:r>
              <a:endParaRPr lang="zh-CN" altLang="en-US" sz="1100" dirty="0">
                <a:solidFill>
                  <a:srgbClr val="FFFFFF"/>
                </a:solidFill>
                <a:latin typeface="微软雅黑" pitchFamily="34" charset="-122"/>
                <a:ea typeface="微软雅黑" pitchFamily="34" charset="-122"/>
              </a:endParaRPr>
            </a:p>
          </p:txBody>
        </p:sp>
      </p:grpSp>
      <p:sp>
        <p:nvSpPr>
          <p:cNvPr id="7" name="圆角矩形 6"/>
          <p:cNvSpPr/>
          <p:nvPr/>
        </p:nvSpPr>
        <p:spPr>
          <a:xfrm>
            <a:off x="2012491" y="2221692"/>
            <a:ext cx="4670995" cy="468052"/>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8" name="组合 7"/>
          <p:cNvGrpSpPr/>
          <p:nvPr/>
        </p:nvGrpSpPr>
        <p:grpSpPr>
          <a:xfrm>
            <a:off x="2334496" y="2280727"/>
            <a:ext cx="4073941" cy="369332"/>
            <a:chOff x="2167226" y="1730685"/>
            <a:chExt cx="4073941" cy="369332"/>
          </a:xfrm>
        </p:grpSpPr>
        <p:sp>
          <p:nvSpPr>
            <p:cNvPr id="9" name="TextBox 4"/>
            <p:cNvSpPr txBox="1"/>
            <p:nvPr/>
          </p:nvSpPr>
          <p:spPr>
            <a:xfrm>
              <a:off x="2595617" y="1730685"/>
              <a:ext cx="3645550" cy="338554"/>
            </a:xfrm>
            <a:prstGeom prst="rect">
              <a:avLst/>
            </a:prstGeom>
            <a:noFill/>
          </p:spPr>
          <p:txBody>
            <a:bodyPr wrap="none" rtlCol="0">
              <a:spAutoFit/>
            </a:bodyPr>
            <a:lstStyle/>
            <a:p>
              <a:r>
                <a:rPr lang="zh-CN" altLang="en-US" sz="1600" dirty="0">
                  <a:solidFill>
                    <a:schemeClr val="accent1"/>
                  </a:solidFill>
                  <a:latin typeface="微软雅黑" pitchFamily="34" charset="-122"/>
                  <a:ea typeface="微软雅黑" pitchFamily="34" charset="-122"/>
                </a:rPr>
                <a:t>添加目录二标题 </a:t>
              </a:r>
              <a:r>
                <a:rPr lang="en-US" altLang="zh-CN" sz="1100" dirty="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10" name="椭圆 9"/>
            <p:cNvSpPr/>
            <p:nvPr/>
          </p:nvSpPr>
          <p:spPr>
            <a:xfrm>
              <a:off x="2195969" y="1730685"/>
              <a:ext cx="369332" cy="369332"/>
            </a:xfrm>
            <a:prstGeom prst="ellips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TextBox 4"/>
            <p:cNvSpPr txBox="1"/>
            <p:nvPr/>
          </p:nvSpPr>
          <p:spPr>
            <a:xfrm>
              <a:off x="2167226" y="1750528"/>
              <a:ext cx="425116" cy="338554"/>
            </a:xfrm>
            <a:prstGeom prst="rect">
              <a:avLst/>
            </a:prstGeom>
            <a:noFill/>
          </p:spPr>
          <p:txBody>
            <a:bodyPr wrap="none" rtlCol="0">
              <a:spAutoFit/>
            </a:bodyPr>
            <a:lstStyle/>
            <a:p>
              <a:r>
                <a:rPr lang="en-US" altLang="zh-CN" sz="1600" dirty="0">
                  <a:solidFill>
                    <a:srgbClr val="FFFFFF"/>
                  </a:solidFill>
                  <a:latin typeface="微软雅黑" pitchFamily="34" charset="-122"/>
                  <a:ea typeface="微软雅黑" pitchFamily="34" charset="-122"/>
                </a:rPr>
                <a:t>02</a:t>
              </a:r>
              <a:endParaRPr lang="zh-CN" altLang="en-US" sz="1100" dirty="0">
                <a:solidFill>
                  <a:srgbClr val="FFFFFF"/>
                </a:solidFill>
                <a:latin typeface="微软雅黑" pitchFamily="34" charset="-122"/>
                <a:ea typeface="微软雅黑" pitchFamily="34" charset="-122"/>
              </a:endParaRPr>
            </a:p>
          </p:txBody>
        </p:sp>
      </p:grpSp>
      <p:sp>
        <p:nvSpPr>
          <p:cNvPr id="12" name="圆角矩形 11"/>
          <p:cNvSpPr/>
          <p:nvPr/>
        </p:nvSpPr>
        <p:spPr>
          <a:xfrm>
            <a:off x="2012491" y="2912835"/>
            <a:ext cx="4670995" cy="468052"/>
          </a:xfrm>
          <a:prstGeom prst="round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13" name="组合 12"/>
          <p:cNvGrpSpPr/>
          <p:nvPr/>
        </p:nvGrpSpPr>
        <p:grpSpPr>
          <a:xfrm>
            <a:off x="2334496" y="2971870"/>
            <a:ext cx="4073941" cy="369332"/>
            <a:chOff x="2167226" y="1730685"/>
            <a:chExt cx="4073941" cy="369332"/>
          </a:xfrm>
        </p:grpSpPr>
        <p:sp>
          <p:nvSpPr>
            <p:cNvPr id="14" name="TextBox 4"/>
            <p:cNvSpPr txBox="1"/>
            <p:nvPr/>
          </p:nvSpPr>
          <p:spPr>
            <a:xfrm>
              <a:off x="2595617" y="1730685"/>
              <a:ext cx="3645550" cy="338554"/>
            </a:xfrm>
            <a:prstGeom prst="rect">
              <a:avLst/>
            </a:prstGeom>
            <a:noFill/>
          </p:spPr>
          <p:txBody>
            <a:bodyPr wrap="none" rtlCol="0">
              <a:spAutoFit/>
            </a:bodyPr>
            <a:lstStyle/>
            <a:p>
              <a:r>
                <a:rPr lang="zh-CN" altLang="en-US" sz="1600" dirty="0">
                  <a:solidFill>
                    <a:schemeClr val="accent1"/>
                  </a:solidFill>
                  <a:latin typeface="微软雅黑" pitchFamily="34" charset="-122"/>
                  <a:ea typeface="微软雅黑" pitchFamily="34" charset="-122"/>
                </a:rPr>
                <a:t>添加目录三标题 </a:t>
              </a:r>
              <a:r>
                <a:rPr lang="en-US" altLang="zh-CN" sz="1100" dirty="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15" name="椭圆 14"/>
            <p:cNvSpPr/>
            <p:nvPr/>
          </p:nvSpPr>
          <p:spPr>
            <a:xfrm>
              <a:off x="2195969" y="1730685"/>
              <a:ext cx="369332" cy="369332"/>
            </a:xfrm>
            <a:prstGeom prst="ellipse">
              <a:avLst/>
            </a:prstGeom>
            <a:solidFill>
              <a:schemeClr val="bg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6" name="TextBox 4"/>
            <p:cNvSpPr txBox="1"/>
            <p:nvPr/>
          </p:nvSpPr>
          <p:spPr>
            <a:xfrm>
              <a:off x="2167226" y="1750528"/>
              <a:ext cx="425116" cy="338554"/>
            </a:xfrm>
            <a:prstGeom prst="rect">
              <a:avLst/>
            </a:prstGeom>
            <a:noFill/>
          </p:spPr>
          <p:txBody>
            <a:bodyPr wrap="none" rtlCol="0">
              <a:spAutoFit/>
            </a:bodyPr>
            <a:lstStyle/>
            <a:p>
              <a:r>
                <a:rPr lang="en-US" altLang="zh-CN" sz="1600" dirty="0">
                  <a:solidFill>
                    <a:srgbClr val="FFFFFF"/>
                  </a:solidFill>
                  <a:latin typeface="微软雅黑" pitchFamily="34" charset="-122"/>
                  <a:ea typeface="微软雅黑" pitchFamily="34" charset="-122"/>
                </a:rPr>
                <a:t>03</a:t>
              </a:r>
              <a:endParaRPr lang="zh-CN" altLang="en-US" sz="1100" dirty="0">
                <a:solidFill>
                  <a:srgbClr val="FFFFFF"/>
                </a:solidFill>
                <a:latin typeface="微软雅黑" pitchFamily="34" charset="-122"/>
                <a:ea typeface="微软雅黑" pitchFamily="34" charset="-122"/>
              </a:endParaRPr>
            </a:p>
          </p:txBody>
        </p:sp>
      </p:grpSp>
      <p:pic>
        <p:nvPicPr>
          <p:cNvPr id="25" name="图片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08437" y="2410959"/>
            <a:ext cx="2808312" cy="2808312"/>
          </a:xfrm>
          <a:prstGeom prst="rect">
            <a:avLst/>
          </a:prstGeom>
        </p:spPr>
      </p:pic>
      <p:pic>
        <p:nvPicPr>
          <p:cNvPr id="26" name="图片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867601">
            <a:off x="6871249" y="3257652"/>
            <a:ext cx="2481838" cy="2481838"/>
          </a:xfrm>
          <a:prstGeom prst="rect">
            <a:avLst/>
          </a:prstGeom>
        </p:spPr>
      </p:pic>
      <p:pic>
        <p:nvPicPr>
          <p:cNvPr id="28" name="图片 27">
            <a:extLst>
              <a:ext uri="{FF2B5EF4-FFF2-40B4-BE49-F238E27FC236}">
                <a16:creationId xmlns:a16="http://schemas.microsoft.com/office/drawing/2014/main" id="{76C44797-FB03-4329-AEFD-49918152661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3738" y="4207679"/>
            <a:ext cx="1541483" cy="689491"/>
          </a:xfrm>
          <a:prstGeom prst="rect">
            <a:avLst/>
          </a:prstGeom>
        </p:spPr>
      </p:pic>
      <p:grpSp>
        <p:nvGrpSpPr>
          <p:cNvPr id="34" name="组合 33">
            <a:extLst>
              <a:ext uri="{FF2B5EF4-FFF2-40B4-BE49-F238E27FC236}">
                <a16:creationId xmlns:a16="http://schemas.microsoft.com/office/drawing/2014/main" id="{58CA1852-F5E4-4D18-9822-089F528EC83A}"/>
              </a:ext>
            </a:extLst>
          </p:cNvPr>
          <p:cNvGrpSpPr/>
          <p:nvPr/>
        </p:nvGrpSpPr>
        <p:grpSpPr>
          <a:xfrm>
            <a:off x="4788024" y="367635"/>
            <a:ext cx="4132971" cy="788287"/>
            <a:chOff x="4788024" y="367635"/>
            <a:chExt cx="4132971" cy="788287"/>
          </a:xfrm>
        </p:grpSpPr>
        <p:grpSp>
          <p:nvGrpSpPr>
            <p:cNvPr id="33" name="组合 32">
              <a:extLst>
                <a:ext uri="{FF2B5EF4-FFF2-40B4-BE49-F238E27FC236}">
                  <a16:creationId xmlns:a16="http://schemas.microsoft.com/office/drawing/2014/main" id="{A20069AF-22A0-44D7-A9F5-EBD4FDD9AD25}"/>
                </a:ext>
              </a:extLst>
            </p:cNvPr>
            <p:cNvGrpSpPr/>
            <p:nvPr/>
          </p:nvGrpSpPr>
          <p:grpSpPr>
            <a:xfrm>
              <a:off x="4788024" y="367635"/>
              <a:ext cx="3524752" cy="788287"/>
              <a:chOff x="4932040" y="411510"/>
              <a:chExt cx="3524752" cy="788287"/>
            </a:xfrm>
          </p:grpSpPr>
          <p:sp>
            <p:nvSpPr>
              <p:cNvPr id="22"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1"/>
                    </a:solidFill>
                    <a:latin typeface="微软雅黑" panose="020B0503020204020204" pitchFamily="34" charset="-122"/>
                    <a:ea typeface="微软雅黑" panose="020B0503020204020204" pitchFamily="34" charset="-122"/>
                  </a:rPr>
                  <a:t>目录标题</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23"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单击此处添加副标题</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24"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2" name="图片 31">
              <a:extLst>
                <a:ext uri="{FF2B5EF4-FFF2-40B4-BE49-F238E27FC236}">
                  <a16:creationId xmlns:a16="http://schemas.microsoft.com/office/drawing/2014/main" id="{85FB21F9-3EE9-4EFE-BE1F-631D4C59B09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60432" y="465055"/>
              <a:ext cx="460563" cy="459948"/>
            </a:xfrm>
            <a:prstGeom prst="rect">
              <a:avLst/>
            </a:prstGeom>
          </p:spPr>
        </p:pic>
      </p:grpSp>
    </p:spTree>
    <p:extLst>
      <p:ext uri="{BB962C8B-B14F-4D97-AF65-F5344CB8AC3E}">
        <p14:creationId xmlns:p14="http://schemas.microsoft.com/office/powerpoint/2010/main" val="102740525"/>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childTnLst>
                          </p:cTn>
                        </p:par>
                        <p:par>
                          <p:cTn id="8" fill="hold">
                            <p:stCondLst>
                              <p:cond delay="500"/>
                            </p:stCondLst>
                            <p:childTnLst>
                              <p:par>
                                <p:cTn id="9" presetID="26" presetClass="emph" presetSubtype="0" fill="hold" grpId="1" nodeType="afterEffect">
                                  <p:stCondLst>
                                    <p:cond delay="0"/>
                                  </p:stCondLst>
                                  <p:childTnLst>
                                    <p:animEffect transition="out" filter="fade">
                                      <p:cBhvr>
                                        <p:cTn id="10" dur="500" tmFilter="0, 0; .2, .5; .8, .5; 1, 0"/>
                                        <p:tgtEl>
                                          <p:spTgt spid="2"/>
                                        </p:tgtEl>
                                      </p:cBhvr>
                                    </p:animEffect>
                                    <p:animScale>
                                      <p:cBhvr>
                                        <p:cTn id="11" dur="250" autoRev="1" fill="hold"/>
                                        <p:tgtEl>
                                          <p:spTgt spid="2"/>
                                        </p:tgtEl>
                                      </p:cBhvr>
                                      <p:by x="105000" y="105000"/>
                                    </p:animScale>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500"/>
                            </p:stCondLst>
                            <p:childTnLst>
                              <p:par>
                                <p:cTn id="17" presetID="16" presetClass="entr" presetSubtype="37"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arn(outVertical)">
                                      <p:cBhvr>
                                        <p:cTn id="19" dur="500"/>
                                        <p:tgtEl>
                                          <p:spTgt spid="7"/>
                                        </p:tgtEl>
                                      </p:cBhvr>
                                    </p:animEffect>
                                  </p:childTnLst>
                                </p:cTn>
                              </p:par>
                            </p:childTnLst>
                          </p:cTn>
                        </p:par>
                        <p:par>
                          <p:cTn id="20" fill="hold">
                            <p:stCondLst>
                              <p:cond delay="2000"/>
                            </p:stCondLst>
                            <p:childTnLst>
                              <p:par>
                                <p:cTn id="21" presetID="26" presetClass="emph" presetSubtype="0" fill="hold" grpId="1" nodeType="afterEffect">
                                  <p:stCondLst>
                                    <p:cond delay="0"/>
                                  </p:stCondLst>
                                  <p:childTnLst>
                                    <p:animEffect transition="out" filter="fade">
                                      <p:cBhvr>
                                        <p:cTn id="22" dur="500" tmFilter="0, 0; .2, .5; .8, .5; 1, 0"/>
                                        <p:tgtEl>
                                          <p:spTgt spid="7"/>
                                        </p:tgtEl>
                                      </p:cBhvr>
                                    </p:animEffect>
                                    <p:animScale>
                                      <p:cBhvr>
                                        <p:cTn id="23" dur="250" autoRev="1" fill="hold"/>
                                        <p:tgtEl>
                                          <p:spTgt spid="7"/>
                                        </p:tgtEl>
                                      </p:cBhvr>
                                      <p:by x="105000" y="105000"/>
                                    </p:animScale>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left)">
                                      <p:cBhvr>
                                        <p:cTn id="27" dur="500"/>
                                        <p:tgtEl>
                                          <p:spTgt spid="8"/>
                                        </p:tgtEl>
                                      </p:cBhvr>
                                    </p:animEffect>
                                  </p:childTnLst>
                                </p:cTn>
                              </p:par>
                            </p:childTnLst>
                          </p:cTn>
                        </p:par>
                        <p:par>
                          <p:cTn id="28" fill="hold">
                            <p:stCondLst>
                              <p:cond delay="3000"/>
                            </p:stCondLst>
                            <p:childTnLst>
                              <p:par>
                                <p:cTn id="29" presetID="16" presetClass="entr" presetSubtype="37"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barn(outVertical)">
                                      <p:cBhvr>
                                        <p:cTn id="31" dur="500"/>
                                        <p:tgtEl>
                                          <p:spTgt spid="12"/>
                                        </p:tgtEl>
                                      </p:cBhvr>
                                    </p:animEffect>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12"/>
                                        </p:tgtEl>
                                      </p:cBhvr>
                                    </p:animEffect>
                                    <p:animScale>
                                      <p:cBhvr>
                                        <p:cTn id="35" dur="250" autoRev="1" fill="hold"/>
                                        <p:tgtEl>
                                          <p:spTgt spid="12"/>
                                        </p:tgtEl>
                                      </p:cBhvr>
                                      <p:by x="105000" y="105000"/>
                                    </p:animScale>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wipe(left)">
                                      <p:cBhvr>
                                        <p:cTn id="39" dur="500"/>
                                        <p:tgtEl>
                                          <p:spTgt spid="13"/>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12" grpId="0" animBg="1"/>
      <p:bldP spid="12"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id="{2C1061F1-14C4-4046-9847-04E38F5B036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21931">
            <a:off x="4654771" y="716021"/>
            <a:ext cx="1856564" cy="1856564"/>
          </a:xfrm>
          <a:prstGeom prst="rect">
            <a:avLst/>
          </a:prstGeom>
        </p:spPr>
      </p:pic>
      <p:pic>
        <p:nvPicPr>
          <p:cNvPr id="10" name="图片 9">
            <a:extLst>
              <a:ext uri="{FF2B5EF4-FFF2-40B4-BE49-F238E27FC236}">
                <a16:creationId xmlns:a16="http://schemas.microsoft.com/office/drawing/2014/main" id="{413F2EC5-667A-4ADA-B046-3F6681984B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513651" y="87371"/>
            <a:ext cx="1922208" cy="2061520"/>
          </a:xfrm>
          <a:prstGeom prst="rect">
            <a:avLst/>
          </a:prstGeom>
        </p:spPr>
      </p:pic>
      <p:sp>
        <p:nvSpPr>
          <p:cNvPr id="5" name="文本框 4"/>
          <p:cNvSpPr txBox="1"/>
          <p:nvPr/>
        </p:nvSpPr>
        <p:spPr>
          <a:xfrm>
            <a:off x="3748696" y="871540"/>
            <a:ext cx="1646605" cy="1569660"/>
          </a:xfrm>
          <a:prstGeom prst="rect">
            <a:avLst/>
          </a:prstGeom>
          <a:noFill/>
        </p:spPr>
        <p:txBody>
          <a:bodyPr wrap="none" rtlCol="0">
            <a:spAutoFit/>
          </a:bodyPr>
          <a:lstStyle/>
          <a:p>
            <a:r>
              <a:rPr lang="en-US" altLang="zh-CN" sz="9600" dirty="0">
                <a:solidFill>
                  <a:srgbClr val="769B37"/>
                </a:solidFill>
                <a:latin typeface="Arial Rounded MT Bold" panose="020F0704030504030204" pitchFamily="34" charset="0"/>
                <a:ea typeface="Ohka" panose="02000609000000000000" pitchFamily="49" charset="-128"/>
                <a:cs typeface="Aharoni" panose="02010803020104030203" pitchFamily="2" charset="-79"/>
              </a:rPr>
              <a:t>01</a:t>
            </a:r>
            <a:endParaRPr lang="zh-CN" altLang="en-US" sz="9600" dirty="0">
              <a:solidFill>
                <a:srgbClr val="769B37"/>
              </a:solidFill>
              <a:latin typeface="Arial Rounded MT Bold" panose="020F0704030504030204" pitchFamily="34" charset="0"/>
              <a:ea typeface="Ohka" panose="02000609000000000000" pitchFamily="49" charset="-128"/>
              <a:cs typeface="Aharoni" panose="02010803020104030203" pitchFamily="2" charset="-79"/>
            </a:endParaRPr>
          </a:p>
        </p:txBody>
      </p:sp>
      <p:sp>
        <p:nvSpPr>
          <p:cNvPr id="8" name="文本框 7">
            <a:extLst>
              <a:ext uri="{FF2B5EF4-FFF2-40B4-BE49-F238E27FC236}">
                <a16:creationId xmlns:a16="http://schemas.microsoft.com/office/drawing/2014/main" id="{4D49E2FC-20EC-432F-A467-2AF6DACB3C81}"/>
              </a:ext>
            </a:extLst>
          </p:cNvPr>
          <p:cNvSpPr txBox="1"/>
          <p:nvPr/>
        </p:nvSpPr>
        <p:spPr>
          <a:xfrm>
            <a:off x="3811633" y="2254033"/>
            <a:ext cx="1826141" cy="523220"/>
          </a:xfrm>
          <a:prstGeom prst="rect">
            <a:avLst/>
          </a:prstGeom>
          <a:noFill/>
        </p:spPr>
        <p:txBody>
          <a:bodyPr wrap="square" rtlCol="0">
            <a:spAutoFit/>
          </a:bodyPr>
          <a:lstStyle/>
          <a:p>
            <a:r>
              <a:rPr lang="zh-CN" altLang="en-US" sz="2800" dirty="0">
                <a:latin typeface="微软雅黑" panose="020B0503020204020204" pitchFamily="34" charset="-122"/>
                <a:ea typeface="微软雅黑" panose="020B0503020204020204" pitchFamily="34" charset="-122"/>
              </a:rPr>
              <a:t>第一部分</a:t>
            </a:r>
          </a:p>
        </p:txBody>
      </p:sp>
      <p:pic>
        <p:nvPicPr>
          <p:cNvPr id="9" name="图片 8">
            <a:extLst>
              <a:ext uri="{FF2B5EF4-FFF2-40B4-BE49-F238E27FC236}">
                <a16:creationId xmlns:a16="http://schemas.microsoft.com/office/drawing/2014/main" id="{6ABEE56D-9027-4924-A45B-3C35A27D17C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67842" y="3690468"/>
            <a:ext cx="2808312" cy="1159144"/>
          </a:xfrm>
          <a:prstGeom prst="rect">
            <a:avLst/>
          </a:prstGeom>
        </p:spPr>
      </p:pic>
    </p:spTree>
    <p:extLst>
      <p:ext uri="{BB962C8B-B14F-4D97-AF65-F5344CB8AC3E}">
        <p14:creationId xmlns:p14="http://schemas.microsoft.com/office/powerpoint/2010/main" val="2237536530"/>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9934E9A3-9F75-43F5-B102-104587C68C50}"/>
              </a:ext>
            </a:extLst>
          </p:cNvPr>
          <p:cNvGrpSpPr/>
          <p:nvPr/>
        </p:nvGrpSpPr>
        <p:grpSpPr>
          <a:xfrm>
            <a:off x="1450855" y="1248789"/>
            <a:ext cx="6984770" cy="2945111"/>
            <a:chOff x="1187624" y="1203598"/>
            <a:chExt cx="7143596" cy="3012080"/>
          </a:xfrm>
        </p:grpSpPr>
        <p:grpSp>
          <p:nvGrpSpPr>
            <p:cNvPr id="8" name="组合 7"/>
            <p:cNvGrpSpPr/>
            <p:nvPr/>
          </p:nvGrpSpPr>
          <p:grpSpPr>
            <a:xfrm>
              <a:off x="1195123" y="1284600"/>
              <a:ext cx="0" cy="955525"/>
              <a:chOff x="1246610" y="1440872"/>
              <a:chExt cx="0" cy="955525"/>
            </a:xfrm>
          </p:grpSpPr>
          <p:cxnSp>
            <p:nvCxnSpPr>
              <p:cNvPr id="9" name="直接连接符 8"/>
              <p:cNvCxnSpPr/>
              <p:nvPr/>
            </p:nvCxnSpPr>
            <p:spPr>
              <a:xfrm flipV="1">
                <a:off x="1246610" y="1907384"/>
                <a:ext cx="0" cy="48901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flipV="1">
                <a:off x="1246610" y="1440872"/>
                <a:ext cx="0" cy="489013"/>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 name="组合 10"/>
            <p:cNvGrpSpPr/>
            <p:nvPr/>
          </p:nvGrpSpPr>
          <p:grpSpPr>
            <a:xfrm>
              <a:off x="4612432" y="1284600"/>
              <a:ext cx="0" cy="955525"/>
              <a:chOff x="4375887" y="1440872"/>
              <a:chExt cx="0" cy="955525"/>
            </a:xfrm>
          </p:grpSpPr>
          <p:cxnSp>
            <p:nvCxnSpPr>
              <p:cNvPr id="12" name="直接连接符 11"/>
              <p:cNvCxnSpPr/>
              <p:nvPr/>
            </p:nvCxnSpPr>
            <p:spPr>
              <a:xfrm flipV="1">
                <a:off x="4375887" y="1907384"/>
                <a:ext cx="0" cy="48901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V="1">
                <a:off x="4375887" y="1440872"/>
                <a:ext cx="0" cy="489013"/>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组合 13"/>
            <p:cNvGrpSpPr/>
            <p:nvPr/>
          </p:nvGrpSpPr>
          <p:grpSpPr>
            <a:xfrm>
              <a:off x="2899278" y="3162650"/>
              <a:ext cx="0" cy="957026"/>
              <a:chOff x="2806749" y="3318922"/>
              <a:chExt cx="0" cy="957026"/>
            </a:xfrm>
          </p:grpSpPr>
          <p:cxnSp>
            <p:nvCxnSpPr>
              <p:cNvPr id="15" name="直接连接符 14"/>
              <p:cNvCxnSpPr/>
              <p:nvPr/>
            </p:nvCxnSpPr>
            <p:spPr>
              <a:xfrm>
                <a:off x="2806749" y="3318922"/>
                <a:ext cx="0" cy="4905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2806749" y="3786935"/>
                <a:ext cx="0" cy="489013"/>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 name="组合 16"/>
            <p:cNvGrpSpPr/>
            <p:nvPr/>
          </p:nvGrpSpPr>
          <p:grpSpPr>
            <a:xfrm>
              <a:off x="6322586" y="3162650"/>
              <a:ext cx="0" cy="957026"/>
              <a:chOff x="5942025" y="3318922"/>
              <a:chExt cx="0" cy="957026"/>
            </a:xfrm>
          </p:grpSpPr>
          <p:cxnSp>
            <p:nvCxnSpPr>
              <p:cNvPr id="18" name="直接连接符 17"/>
              <p:cNvCxnSpPr/>
              <p:nvPr/>
            </p:nvCxnSpPr>
            <p:spPr>
              <a:xfrm>
                <a:off x="5942025" y="3318922"/>
                <a:ext cx="0" cy="49051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5942025" y="3786935"/>
                <a:ext cx="0" cy="489013"/>
              </a:xfrm>
              <a:prstGeom prst="line">
                <a:avLst/>
              </a:prstGeom>
              <a:ln w="444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0" name="矩形 19"/>
            <p:cNvSpPr/>
            <p:nvPr/>
          </p:nvSpPr>
          <p:spPr>
            <a:xfrm>
              <a:off x="1239977" y="1203598"/>
              <a:ext cx="1978675" cy="817522"/>
            </a:xfrm>
            <a:prstGeom prst="rect">
              <a:avLst/>
            </a:prstGeom>
          </p:spPr>
          <p:txBody>
            <a:bodyPr lIns="86404" tIns="43202" rIns="86404" bIns="43202"/>
            <a:lstStyle/>
            <a:p>
              <a:pPr>
                <a:lnSpc>
                  <a:spcPct val="120000"/>
                </a:lnSpc>
                <a:defRPr/>
              </a:pPr>
              <a:r>
                <a:rPr lang="zh-CN" altLang="en-US" sz="12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200" dirty="0">
                  <a:solidFill>
                    <a:schemeClr val="accent1"/>
                  </a:solidFill>
                  <a:latin typeface="微软雅黑" panose="020B0503020204020204" pitchFamily="34" charset="-122"/>
                  <a:ea typeface="微软雅黑" panose="020B0503020204020204" pitchFamily="34" charset="-122"/>
                </a:rPr>
                <a:t>请在此处输入您的文本</a:t>
              </a:r>
            </a:p>
            <a:p>
              <a:pPr>
                <a:lnSpc>
                  <a:spcPct val="120000"/>
                </a:lnSpc>
                <a:defRPr/>
              </a:pPr>
              <a:r>
                <a:rPr lang="zh-CN" altLang="en-US" sz="12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21" name="矩形 20"/>
            <p:cNvSpPr/>
            <p:nvPr/>
          </p:nvSpPr>
          <p:spPr>
            <a:xfrm>
              <a:off x="4696361" y="1203598"/>
              <a:ext cx="1978675" cy="817522"/>
            </a:xfrm>
            <a:prstGeom prst="rect">
              <a:avLst/>
            </a:prstGeom>
          </p:spPr>
          <p:txBody>
            <a:bodyPr lIns="86404" tIns="43202" rIns="86404" bIns="43202"/>
            <a:lstStyle/>
            <a:p>
              <a:pPr>
                <a:lnSpc>
                  <a:spcPct val="120000"/>
                </a:lnSpc>
                <a:defRPr/>
              </a:pPr>
              <a:r>
                <a:rPr lang="zh-CN" altLang="en-US" sz="12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200" dirty="0">
                  <a:solidFill>
                    <a:schemeClr val="accent1"/>
                  </a:solidFill>
                  <a:latin typeface="微软雅黑" panose="020B0503020204020204" pitchFamily="34" charset="-122"/>
                  <a:ea typeface="微软雅黑" panose="020B0503020204020204" pitchFamily="34" charset="-122"/>
                </a:rPr>
                <a:t>请在此处输入您的文本</a:t>
              </a:r>
            </a:p>
            <a:p>
              <a:pPr>
                <a:lnSpc>
                  <a:spcPct val="120000"/>
                </a:lnSpc>
                <a:defRPr/>
              </a:pPr>
              <a:r>
                <a:rPr lang="zh-CN" altLang="en-US" sz="12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22" name="矩形 21"/>
            <p:cNvSpPr/>
            <p:nvPr/>
          </p:nvSpPr>
          <p:spPr>
            <a:xfrm>
              <a:off x="2968169" y="3398155"/>
              <a:ext cx="1978675" cy="817523"/>
            </a:xfrm>
            <a:prstGeom prst="rect">
              <a:avLst/>
            </a:prstGeom>
          </p:spPr>
          <p:txBody>
            <a:bodyPr lIns="86404" tIns="43202" rIns="86404" bIns="43202" anchor="b"/>
            <a:lstStyle/>
            <a:p>
              <a:pPr>
                <a:lnSpc>
                  <a:spcPct val="120000"/>
                </a:lnSpc>
                <a:defRPr/>
              </a:pPr>
              <a:r>
                <a:rPr lang="zh-CN" altLang="en-US" sz="12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2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2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23" name="矩形 22"/>
            <p:cNvSpPr/>
            <p:nvPr/>
          </p:nvSpPr>
          <p:spPr>
            <a:xfrm>
              <a:off x="6352545" y="3398155"/>
              <a:ext cx="1978675" cy="817523"/>
            </a:xfrm>
            <a:prstGeom prst="rect">
              <a:avLst/>
            </a:prstGeom>
          </p:spPr>
          <p:txBody>
            <a:bodyPr lIns="86404" tIns="43202" rIns="86404" bIns="43202" anchor="b"/>
            <a:lstStyle/>
            <a:p>
              <a:pPr>
                <a:lnSpc>
                  <a:spcPct val="120000"/>
                </a:lnSpc>
                <a:defRPr/>
              </a:pPr>
              <a:r>
                <a:rPr lang="zh-CN" altLang="en-US" sz="12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2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200" dirty="0">
                  <a:solidFill>
                    <a:schemeClr val="accent1"/>
                  </a:solidFill>
                  <a:latin typeface="微软雅黑" panose="020B0503020204020204" pitchFamily="34" charset="-122"/>
                  <a:ea typeface="微软雅黑" panose="020B0503020204020204" pitchFamily="34" charset="-122"/>
                </a:rPr>
                <a:t>请在此处输入您的文本</a:t>
              </a:r>
              <a:endParaRPr lang="en-US" altLang="zh-CN" sz="1200" dirty="0">
                <a:solidFill>
                  <a:schemeClr val="accent1"/>
                </a:solidFill>
                <a:latin typeface="微软雅黑" panose="020B0503020204020204" pitchFamily="34" charset="-122"/>
                <a:ea typeface="微软雅黑" panose="020B0503020204020204" pitchFamily="34" charset="-122"/>
              </a:endParaRPr>
            </a:p>
          </p:txBody>
        </p:sp>
        <p:sp>
          <p:nvSpPr>
            <p:cNvPr id="24" name="矩形 23"/>
            <p:cNvSpPr/>
            <p:nvPr/>
          </p:nvSpPr>
          <p:spPr>
            <a:xfrm>
              <a:off x="1187624" y="2229625"/>
              <a:ext cx="1468630" cy="967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a:solidFill>
                    <a:schemeClr val="accent2"/>
                  </a:solidFill>
                  <a:latin typeface="微软雅黑" panose="020B0503020204020204" pitchFamily="34" charset="-122"/>
                  <a:ea typeface="微软雅黑" panose="020B0503020204020204" pitchFamily="34" charset="-122"/>
                </a:rPr>
                <a:t>添加文字</a:t>
              </a:r>
            </a:p>
          </p:txBody>
        </p:sp>
        <p:sp>
          <p:nvSpPr>
            <p:cNvPr id="25" name="矩形 24"/>
            <p:cNvSpPr/>
            <p:nvPr/>
          </p:nvSpPr>
          <p:spPr>
            <a:xfrm>
              <a:off x="2896277" y="2229625"/>
              <a:ext cx="1468630" cy="967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a:solidFill>
                    <a:schemeClr val="accent2"/>
                  </a:solidFill>
                  <a:latin typeface="微软雅黑" panose="020B0503020204020204" pitchFamily="34" charset="-122"/>
                  <a:ea typeface="微软雅黑" panose="020B0503020204020204" pitchFamily="34" charset="-122"/>
                </a:rPr>
                <a:t>添加文字</a:t>
              </a:r>
            </a:p>
          </p:txBody>
        </p:sp>
        <p:sp>
          <p:nvSpPr>
            <p:cNvPr id="26" name="矩形 25"/>
            <p:cNvSpPr/>
            <p:nvPr/>
          </p:nvSpPr>
          <p:spPr>
            <a:xfrm>
              <a:off x="4604932" y="2229625"/>
              <a:ext cx="1468630" cy="967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a:solidFill>
                    <a:schemeClr val="accent2"/>
                  </a:solidFill>
                  <a:latin typeface="微软雅黑" panose="020B0503020204020204" pitchFamily="34" charset="-122"/>
                  <a:ea typeface="微软雅黑" panose="020B0503020204020204" pitchFamily="34" charset="-122"/>
                </a:rPr>
                <a:t>添加文字</a:t>
              </a:r>
            </a:p>
          </p:txBody>
        </p:sp>
        <p:sp>
          <p:nvSpPr>
            <p:cNvPr id="27" name="矩形 26"/>
            <p:cNvSpPr/>
            <p:nvPr/>
          </p:nvSpPr>
          <p:spPr>
            <a:xfrm>
              <a:off x="6313585" y="2229625"/>
              <a:ext cx="1468630" cy="967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a:solidFill>
                    <a:schemeClr val="accent2"/>
                  </a:solidFill>
                  <a:latin typeface="微软雅黑" panose="020B0503020204020204" pitchFamily="34" charset="-122"/>
                  <a:ea typeface="微软雅黑" panose="020B0503020204020204" pitchFamily="34" charset="-122"/>
                </a:rPr>
                <a:t>添加文字</a:t>
              </a:r>
            </a:p>
          </p:txBody>
        </p:sp>
      </p:grpSp>
      <p:grpSp>
        <p:nvGrpSpPr>
          <p:cNvPr id="42" name="组合 41">
            <a:extLst>
              <a:ext uri="{FF2B5EF4-FFF2-40B4-BE49-F238E27FC236}">
                <a16:creationId xmlns:a16="http://schemas.microsoft.com/office/drawing/2014/main" id="{181C93AC-7861-4906-93D2-5BA5B93D0219}"/>
              </a:ext>
            </a:extLst>
          </p:cNvPr>
          <p:cNvGrpSpPr/>
          <p:nvPr/>
        </p:nvGrpSpPr>
        <p:grpSpPr>
          <a:xfrm>
            <a:off x="4577636" y="332828"/>
            <a:ext cx="4086895" cy="788287"/>
            <a:chOff x="4687332" y="287447"/>
            <a:chExt cx="4086895" cy="788287"/>
          </a:xfrm>
        </p:grpSpPr>
        <p:grpSp>
          <p:nvGrpSpPr>
            <p:cNvPr id="43" name="组合 42">
              <a:extLst>
                <a:ext uri="{FF2B5EF4-FFF2-40B4-BE49-F238E27FC236}">
                  <a16:creationId xmlns:a16="http://schemas.microsoft.com/office/drawing/2014/main" id="{3DA4D097-79E7-408B-9442-438DEF658778}"/>
                </a:ext>
              </a:extLst>
            </p:cNvPr>
            <p:cNvGrpSpPr/>
            <p:nvPr/>
          </p:nvGrpSpPr>
          <p:grpSpPr>
            <a:xfrm>
              <a:off x="4687332" y="287447"/>
              <a:ext cx="3510263" cy="788287"/>
              <a:chOff x="4932040" y="411510"/>
              <a:chExt cx="3510263" cy="788287"/>
            </a:xfrm>
          </p:grpSpPr>
          <p:sp>
            <p:nvSpPr>
              <p:cNvPr id="45" name="Text Placeholder 8">
                <a:extLst>
                  <a:ext uri="{FF2B5EF4-FFF2-40B4-BE49-F238E27FC236}">
                    <a16:creationId xmlns:a16="http://schemas.microsoft.com/office/drawing/2014/main" id="{17512BAD-B8FE-4FEA-9E37-CD4903A67315}"/>
                  </a:ext>
                </a:extLst>
              </p:cNvPr>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600" dirty="0">
                    <a:solidFill>
                      <a:schemeClr val="bg1"/>
                    </a:solidFill>
                    <a:latin typeface="微软雅黑" panose="020B0503020204020204" pitchFamily="34" charset="-122"/>
                    <a:ea typeface="微软雅黑" panose="020B0503020204020204" pitchFamily="34" charset="-122"/>
                  </a:rPr>
                  <a:t>标题内容</a:t>
                </a:r>
                <a:endParaRPr lang="en-US" altLang="zh-CN" sz="2600" dirty="0">
                  <a:solidFill>
                    <a:schemeClr val="bg1"/>
                  </a:solidFill>
                  <a:latin typeface="微软雅黑" panose="020B0503020204020204" pitchFamily="34" charset="-122"/>
                  <a:ea typeface="微软雅黑" panose="020B0503020204020204" pitchFamily="34" charset="-122"/>
                </a:endParaRPr>
              </a:p>
            </p:txBody>
          </p:sp>
          <p:sp>
            <p:nvSpPr>
              <p:cNvPr id="46" name="Text Placeholder 9">
                <a:extLst>
                  <a:ext uri="{FF2B5EF4-FFF2-40B4-BE49-F238E27FC236}">
                    <a16:creationId xmlns:a16="http://schemas.microsoft.com/office/drawing/2014/main" id="{5C8F7F65-AB99-45CC-A776-3D5C3548D42F}"/>
                  </a:ext>
                </a:extLst>
              </p:cNvPr>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400" dirty="0">
                    <a:solidFill>
                      <a:schemeClr val="accent1"/>
                    </a:solidFill>
                    <a:latin typeface="微软雅黑" panose="020B0503020204020204" pitchFamily="34" charset="-122"/>
                    <a:ea typeface="微软雅黑" panose="020B0503020204020204" pitchFamily="34" charset="-122"/>
                  </a:rPr>
                  <a:t>单击此处添加副标题</a:t>
                </a:r>
                <a:endParaRPr lang="en-US" altLang="zh-CN" sz="1400" dirty="0">
                  <a:solidFill>
                    <a:schemeClr val="accent1"/>
                  </a:solidFill>
                  <a:latin typeface="微软雅黑" panose="020B0503020204020204" pitchFamily="34" charset="-122"/>
                  <a:ea typeface="微软雅黑" panose="020B0503020204020204" pitchFamily="34" charset="-122"/>
                </a:endParaRPr>
              </a:p>
            </p:txBody>
          </p:sp>
          <p:cxnSp>
            <p:nvCxnSpPr>
              <p:cNvPr id="47" name="Straight Connector 12">
                <a:extLst>
                  <a:ext uri="{FF2B5EF4-FFF2-40B4-BE49-F238E27FC236}">
                    <a16:creationId xmlns:a16="http://schemas.microsoft.com/office/drawing/2014/main" id="{76DFEA38-52B8-4491-A79C-D7B37B7E7FBB}"/>
                  </a:ext>
                </a:extLst>
              </p:cNvPr>
              <p:cNvCxnSpPr>
                <a:cxnSpLocks/>
              </p:cNvCxnSpPr>
              <p:nvPr/>
            </p:nvCxnSpPr>
            <p:spPr>
              <a:xfrm>
                <a:off x="8442303" y="551452"/>
                <a:ext cx="0" cy="45312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44" name="图片 43">
              <a:extLst>
                <a:ext uri="{FF2B5EF4-FFF2-40B4-BE49-F238E27FC236}">
                  <a16:creationId xmlns:a16="http://schemas.microsoft.com/office/drawing/2014/main" id="{EB8608F3-BD14-4943-AA30-BC0C2EB49D0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16416" y="427389"/>
              <a:ext cx="457811" cy="457200"/>
            </a:xfrm>
            <a:prstGeom prst="rect">
              <a:avLst/>
            </a:prstGeom>
          </p:spPr>
        </p:pic>
      </p:grpSp>
      <p:grpSp>
        <p:nvGrpSpPr>
          <p:cNvPr id="5" name="组合 4">
            <a:extLst>
              <a:ext uri="{FF2B5EF4-FFF2-40B4-BE49-F238E27FC236}">
                <a16:creationId xmlns:a16="http://schemas.microsoft.com/office/drawing/2014/main" id="{2A100231-1D88-449B-82E4-E620C59D3C49}"/>
              </a:ext>
            </a:extLst>
          </p:cNvPr>
          <p:cNvGrpSpPr/>
          <p:nvPr/>
        </p:nvGrpSpPr>
        <p:grpSpPr>
          <a:xfrm>
            <a:off x="-68583" y="3173016"/>
            <a:ext cx="1961213" cy="1744409"/>
            <a:chOff x="-68583" y="3173016"/>
            <a:chExt cx="1961213" cy="1744409"/>
          </a:xfrm>
        </p:grpSpPr>
        <p:pic>
          <p:nvPicPr>
            <p:cNvPr id="34" name="图片 33">
              <a:extLst>
                <a:ext uri="{FF2B5EF4-FFF2-40B4-BE49-F238E27FC236}">
                  <a16:creationId xmlns:a16="http://schemas.microsoft.com/office/drawing/2014/main" id="{C326866F-BCA6-4BED-8658-5C3E44C650E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9827389">
              <a:off x="-68583" y="3173016"/>
              <a:ext cx="1659888" cy="1659888"/>
            </a:xfrm>
            <a:prstGeom prst="rect">
              <a:avLst/>
            </a:prstGeom>
          </p:spPr>
        </p:pic>
        <p:pic>
          <p:nvPicPr>
            <p:cNvPr id="4" name="图片 3">
              <a:extLst>
                <a:ext uri="{FF2B5EF4-FFF2-40B4-BE49-F238E27FC236}">
                  <a16:creationId xmlns:a16="http://schemas.microsoft.com/office/drawing/2014/main" id="{CB5083F9-97EC-4FA0-8798-8FB614F70AC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1149" y="4227934"/>
              <a:ext cx="1541481" cy="689491"/>
            </a:xfrm>
            <a:prstGeom prst="rect">
              <a:avLst/>
            </a:prstGeom>
          </p:spPr>
        </p:pic>
      </p:grpSp>
    </p:spTree>
    <p:extLst>
      <p:ext uri="{BB962C8B-B14F-4D97-AF65-F5344CB8AC3E}">
        <p14:creationId xmlns:p14="http://schemas.microsoft.com/office/powerpoint/2010/main" val="597141179"/>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DFC39060-AE49-48A0-BA6E-9B30A3A2AE9E}"/>
              </a:ext>
            </a:extLst>
          </p:cNvPr>
          <p:cNvGrpSpPr/>
          <p:nvPr/>
        </p:nvGrpSpPr>
        <p:grpSpPr>
          <a:xfrm>
            <a:off x="683568" y="1347614"/>
            <a:ext cx="7200800" cy="2754719"/>
            <a:chOff x="683568" y="1275606"/>
            <a:chExt cx="7738764" cy="2960521"/>
          </a:xfrm>
        </p:grpSpPr>
        <p:grpSp>
          <p:nvGrpSpPr>
            <p:cNvPr id="31" name="组合 30"/>
            <p:cNvGrpSpPr/>
            <p:nvPr/>
          </p:nvGrpSpPr>
          <p:grpSpPr>
            <a:xfrm>
              <a:off x="6570940" y="2266675"/>
              <a:ext cx="884046" cy="890764"/>
              <a:chOff x="7108825" y="2044477"/>
              <a:chExt cx="1044575" cy="1052513"/>
            </a:xfrm>
          </p:grpSpPr>
          <p:sp>
            <p:nvSpPr>
              <p:cNvPr id="32" name="Oval 4"/>
              <p:cNvSpPr>
                <a:spLocks noChangeArrowheads="1"/>
              </p:cNvSpPr>
              <p:nvPr/>
            </p:nvSpPr>
            <p:spPr bwMode="gray">
              <a:xfrm>
                <a:off x="7112000" y="2044477"/>
                <a:ext cx="1035050" cy="1052513"/>
              </a:xfrm>
              <a:prstGeom prst="ellipse">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33" name="Text Box 61"/>
              <p:cNvSpPr txBox="1">
                <a:spLocks noChangeArrowheads="1"/>
              </p:cNvSpPr>
              <p:nvPr/>
            </p:nvSpPr>
            <p:spPr bwMode="gray">
              <a:xfrm>
                <a:off x="7108825"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a:solidFill>
                      <a:schemeClr val="accent2"/>
                    </a:solidFill>
                    <a:latin typeface="微软雅黑" panose="020B0503020204020204" pitchFamily="34" charset="-122"/>
                    <a:ea typeface="微软雅黑" panose="020B0503020204020204" pitchFamily="34" charset="-122"/>
                    <a:cs typeface="Arial" pitchFamily="34" charset="0"/>
                  </a:rPr>
                  <a:t>标题</a:t>
                </a:r>
              </a:p>
            </p:txBody>
          </p:sp>
        </p:grpSp>
        <p:grpSp>
          <p:nvGrpSpPr>
            <p:cNvPr id="3" name="组合 2">
              <a:extLst>
                <a:ext uri="{FF2B5EF4-FFF2-40B4-BE49-F238E27FC236}">
                  <a16:creationId xmlns:a16="http://schemas.microsoft.com/office/drawing/2014/main" id="{344761F8-2831-47A8-AC24-62D1098FD288}"/>
                </a:ext>
              </a:extLst>
            </p:cNvPr>
            <p:cNvGrpSpPr/>
            <p:nvPr/>
          </p:nvGrpSpPr>
          <p:grpSpPr>
            <a:xfrm>
              <a:off x="683568" y="1275606"/>
              <a:ext cx="7738764" cy="2960521"/>
              <a:chOff x="683568" y="1275606"/>
              <a:chExt cx="7738764" cy="2960521"/>
            </a:xfrm>
          </p:grpSpPr>
          <p:grpSp>
            <p:nvGrpSpPr>
              <p:cNvPr id="28" name="组合 27"/>
              <p:cNvGrpSpPr/>
              <p:nvPr/>
            </p:nvGrpSpPr>
            <p:grpSpPr>
              <a:xfrm>
                <a:off x="4913017" y="2266675"/>
                <a:ext cx="884046" cy="890764"/>
                <a:chOff x="5149850" y="2044477"/>
                <a:chExt cx="1044575" cy="1052513"/>
              </a:xfrm>
            </p:grpSpPr>
            <p:sp>
              <p:nvSpPr>
                <p:cNvPr id="29" name="Oval 4"/>
                <p:cNvSpPr>
                  <a:spLocks noChangeArrowheads="1"/>
                </p:cNvSpPr>
                <p:nvPr/>
              </p:nvSpPr>
              <p:spPr bwMode="gray">
                <a:xfrm>
                  <a:off x="5153025" y="2044477"/>
                  <a:ext cx="1035050" cy="1052513"/>
                </a:xfrm>
                <a:prstGeom prst="ellipse">
                  <a:avLst/>
                </a:prstGeom>
                <a:solidFill>
                  <a:schemeClr val="bg2"/>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30" name="Text Box 61"/>
                <p:cNvSpPr txBox="1">
                  <a:spLocks noChangeArrowheads="1"/>
                </p:cNvSpPr>
                <p:nvPr/>
              </p:nvSpPr>
              <p:spPr bwMode="gray">
                <a:xfrm>
                  <a:off x="5149850"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a:solidFill>
                        <a:schemeClr val="accent2"/>
                      </a:solidFill>
                      <a:latin typeface="微软雅黑" panose="020B0503020204020204" pitchFamily="34" charset="-122"/>
                      <a:ea typeface="微软雅黑" panose="020B0503020204020204" pitchFamily="34" charset="-122"/>
                      <a:cs typeface="Arial" pitchFamily="34" charset="0"/>
                    </a:rPr>
                    <a:t>标题</a:t>
                  </a:r>
                </a:p>
              </p:txBody>
            </p:sp>
          </p:grpSp>
          <p:grpSp>
            <p:nvGrpSpPr>
              <p:cNvPr id="2" name="组合 1">
                <a:extLst>
                  <a:ext uri="{FF2B5EF4-FFF2-40B4-BE49-F238E27FC236}">
                    <a16:creationId xmlns:a16="http://schemas.microsoft.com/office/drawing/2014/main" id="{CDB59CB5-CC06-434D-AA0D-55ABD5590D28}"/>
                  </a:ext>
                </a:extLst>
              </p:cNvPr>
              <p:cNvGrpSpPr/>
              <p:nvPr/>
            </p:nvGrpSpPr>
            <p:grpSpPr>
              <a:xfrm>
                <a:off x="683568" y="1275606"/>
                <a:ext cx="7738764" cy="2960521"/>
                <a:chOff x="683568" y="1275606"/>
                <a:chExt cx="7738764" cy="2960521"/>
              </a:xfrm>
            </p:grpSpPr>
            <p:grpSp>
              <p:nvGrpSpPr>
                <p:cNvPr id="8" name="组合 7"/>
                <p:cNvGrpSpPr/>
                <p:nvPr/>
              </p:nvGrpSpPr>
              <p:grpSpPr>
                <a:xfrm>
                  <a:off x="1611951" y="2266675"/>
                  <a:ext cx="875985" cy="890764"/>
                  <a:chOff x="1249363" y="2044477"/>
                  <a:chExt cx="1035050" cy="1052513"/>
                </a:xfrm>
              </p:grpSpPr>
              <p:sp>
                <p:nvSpPr>
                  <p:cNvPr id="9" name="Oval 4"/>
                  <p:cNvSpPr>
                    <a:spLocks noChangeArrowheads="1"/>
                  </p:cNvSpPr>
                  <p:nvPr/>
                </p:nvSpPr>
                <p:spPr bwMode="gray">
                  <a:xfrm>
                    <a:off x="1249363" y="2044477"/>
                    <a:ext cx="1035050" cy="1052513"/>
                  </a:xfrm>
                  <a:prstGeom prst="ellipse">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10" name="Text Box 61"/>
                  <p:cNvSpPr txBox="1">
                    <a:spLocks noChangeArrowheads="1"/>
                  </p:cNvSpPr>
                  <p:nvPr/>
                </p:nvSpPr>
                <p:spPr bwMode="gray">
                  <a:xfrm>
                    <a:off x="1266429" y="2339447"/>
                    <a:ext cx="89103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a:solidFill>
                          <a:schemeClr val="accent2"/>
                        </a:solidFill>
                        <a:latin typeface="微软雅黑" panose="020B0503020204020204" pitchFamily="34" charset="-122"/>
                        <a:ea typeface="微软雅黑" panose="020B0503020204020204" pitchFamily="34" charset="-122"/>
                        <a:cs typeface="Arial" pitchFamily="34" charset="0"/>
                      </a:rPr>
                      <a:t>标题</a:t>
                    </a:r>
                  </a:p>
                </p:txBody>
              </p:sp>
            </p:grpSp>
            <p:grpSp>
              <p:nvGrpSpPr>
                <p:cNvPr id="11" name="组合 10"/>
                <p:cNvGrpSpPr/>
                <p:nvPr/>
              </p:nvGrpSpPr>
              <p:grpSpPr>
                <a:xfrm>
                  <a:off x="1409077" y="3238049"/>
                  <a:ext cx="5138267" cy="998078"/>
                  <a:chOff x="1009650" y="3616989"/>
                  <a:chExt cx="6071294" cy="1179314"/>
                </a:xfrm>
              </p:grpSpPr>
              <p:sp>
                <p:nvSpPr>
                  <p:cNvPr id="12" name="Line 58"/>
                  <p:cNvSpPr>
                    <a:spLocks noChangeShapeType="1"/>
                  </p:cNvSpPr>
                  <p:nvPr/>
                </p:nvSpPr>
                <p:spPr bwMode="black">
                  <a:xfrm>
                    <a:off x="1765300" y="3616989"/>
                    <a:ext cx="0" cy="334962"/>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3" name="Line 59"/>
                  <p:cNvSpPr>
                    <a:spLocks noChangeShapeType="1"/>
                  </p:cNvSpPr>
                  <p:nvPr/>
                </p:nvSpPr>
                <p:spPr bwMode="black">
                  <a:xfrm flipH="1">
                    <a:off x="1009650" y="3961476"/>
                    <a:ext cx="1495425" cy="0"/>
                  </a:xfrm>
                  <a:prstGeom prst="line">
                    <a:avLst/>
                  </a:prstGeom>
                  <a:noFill/>
                  <a:ln w="19050">
                    <a:solidFill>
                      <a:schemeClr val="bg1"/>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4" name="Text Box 60"/>
                  <p:cNvSpPr txBox="1">
                    <a:spLocks noChangeArrowheads="1"/>
                  </p:cNvSpPr>
                  <p:nvPr/>
                </p:nvSpPr>
                <p:spPr bwMode="auto">
                  <a:xfrm>
                    <a:off x="1122412" y="4015451"/>
                    <a:ext cx="2070100" cy="78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080808"/>
                      </a:buClr>
                    </a:pPr>
                    <a:r>
                      <a:rPr lang="zh-CN" altLang="en-US" sz="900" dirty="0">
                        <a:solidFill>
                          <a:schemeClr val="accent1"/>
                        </a:solidFill>
                        <a:latin typeface="微软雅黑" panose="020B0503020204020204" pitchFamily="34" charset="-122"/>
                        <a:ea typeface="微软雅黑" panose="020B0503020204020204" pitchFamily="34" charset="-122"/>
                        <a:cs typeface="Arial" pitchFamily="34" charset="0"/>
                      </a:rPr>
                      <a:t>点击此处添加文字</a:t>
                    </a:r>
                  </a:p>
                  <a:p>
                    <a:pPr eaLnBrk="1" hangingPunct="1">
                      <a:lnSpc>
                        <a:spcPct val="130000"/>
                      </a:lnSpc>
                      <a:buClr>
                        <a:srgbClr val="080808"/>
                      </a:buClr>
                    </a:pPr>
                    <a:r>
                      <a:rPr lang="zh-CN" altLang="en-US" sz="900" dirty="0">
                        <a:solidFill>
                          <a:schemeClr val="accent1"/>
                        </a:solidFill>
                        <a:latin typeface="微软雅黑" panose="020B0503020204020204" pitchFamily="34" charset="-122"/>
                        <a:ea typeface="微软雅黑" panose="020B0503020204020204" pitchFamily="34" charset="-122"/>
                        <a:cs typeface="Arial" pitchFamily="34" charset="0"/>
                      </a:rPr>
                      <a:t>点击此处添加文字</a:t>
                    </a:r>
                  </a:p>
                  <a:p>
                    <a:pPr eaLnBrk="1" hangingPunct="1">
                      <a:lnSpc>
                        <a:spcPct val="130000"/>
                      </a:lnSpc>
                      <a:buClr>
                        <a:srgbClr val="080808"/>
                      </a:buClr>
                    </a:pPr>
                    <a:endParaRPr lang="zh-CN" altLang="en-US" sz="900" dirty="0">
                      <a:solidFill>
                        <a:schemeClr val="accent1"/>
                      </a:solidFill>
                      <a:latin typeface="微软雅黑" panose="020B0503020204020204" pitchFamily="34" charset="-122"/>
                      <a:ea typeface="微软雅黑" panose="020B0503020204020204" pitchFamily="34" charset="-122"/>
                      <a:cs typeface="Arial" pitchFamily="34" charset="0"/>
                    </a:endParaRPr>
                  </a:p>
                </p:txBody>
              </p:sp>
              <p:sp>
                <p:nvSpPr>
                  <p:cNvPr id="15" name="Line 71"/>
                  <p:cNvSpPr>
                    <a:spLocks noChangeShapeType="1"/>
                  </p:cNvSpPr>
                  <p:nvPr/>
                </p:nvSpPr>
                <p:spPr bwMode="black">
                  <a:xfrm>
                    <a:off x="5648325" y="3616989"/>
                    <a:ext cx="0" cy="334962"/>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6" name="Line 72"/>
                  <p:cNvSpPr>
                    <a:spLocks noChangeShapeType="1"/>
                  </p:cNvSpPr>
                  <p:nvPr/>
                </p:nvSpPr>
                <p:spPr bwMode="black">
                  <a:xfrm flipH="1">
                    <a:off x="4837113" y="3951951"/>
                    <a:ext cx="1587500" cy="0"/>
                  </a:xfrm>
                  <a:prstGeom prst="line">
                    <a:avLst/>
                  </a:prstGeom>
                  <a:noFill/>
                  <a:ln w="19050">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7" name="Text Box 73"/>
                  <p:cNvSpPr txBox="1">
                    <a:spLocks noChangeArrowheads="1"/>
                  </p:cNvSpPr>
                  <p:nvPr/>
                </p:nvSpPr>
                <p:spPr bwMode="auto">
                  <a:xfrm>
                    <a:off x="5010844" y="4015451"/>
                    <a:ext cx="2070100" cy="552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080808"/>
                      </a:buClr>
                    </a:pPr>
                    <a:r>
                      <a:rPr lang="zh-CN" altLang="en-US" sz="900" dirty="0">
                        <a:solidFill>
                          <a:schemeClr val="accent1"/>
                        </a:solidFill>
                        <a:latin typeface="微软雅黑" panose="020B0503020204020204" pitchFamily="34" charset="-122"/>
                        <a:ea typeface="微软雅黑" panose="020B0503020204020204" pitchFamily="34" charset="-122"/>
                        <a:cs typeface="Arial" pitchFamily="34" charset="0"/>
                      </a:rPr>
                      <a:t>点击此处添加文字</a:t>
                    </a:r>
                    <a:endParaRPr lang="en-US" altLang="zh-CN" sz="900" dirty="0">
                      <a:solidFill>
                        <a:schemeClr val="accent1"/>
                      </a:solidFill>
                      <a:latin typeface="微软雅黑" panose="020B0503020204020204" pitchFamily="34" charset="-122"/>
                      <a:ea typeface="微软雅黑" panose="020B0503020204020204" pitchFamily="34" charset="-122"/>
                      <a:cs typeface="Arial" pitchFamily="34" charset="0"/>
                    </a:endParaRPr>
                  </a:p>
                  <a:p>
                    <a:pPr eaLnBrk="1" hangingPunct="1">
                      <a:lnSpc>
                        <a:spcPct val="130000"/>
                      </a:lnSpc>
                      <a:buClr>
                        <a:srgbClr val="080808"/>
                      </a:buClr>
                    </a:pPr>
                    <a:r>
                      <a:rPr lang="zh-CN" altLang="en-US" sz="900" dirty="0">
                        <a:solidFill>
                          <a:schemeClr val="accent1"/>
                        </a:solidFill>
                        <a:latin typeface="微软雅黑" panose="020B0503020204020204" pitchFamily="34" charset="-122"/>
                        <a:ea typeface="微软雅黑" panose="020B0503020204020204" pitchFamily="34" charset="-122"/>
                        <a:cs typeface="Arial" pitchFamily="34" charset="0"/>
                      </a:rPr>
                      <a:t>点击此处添加文字</a:t>
                    </a:r>
                  </a:p>
                </p:txBody>
              </p:sp>
            </p:grpSp>
            <p:grpSp>
              <p:nvGrpSpPr>
                <p:cNvPr id="18" name="Group 74"/>
                <p:cNvGrpSpPr>
                  <a:grpSpLocks/>
                </p:cNvGrpSpPr>
                <p:nvPr/>
              </p:nvGrpSpPr>
              <p:grpSpPr bwMode="auto">
                <a:xfrm>
                  <a:off x="683568" y="2171284"/>
                  <a:ext cx="7738764" cy="1061393"/>
                  <a:chOff x="0" y="2006"/>
                  <a:chExt cx="5760" cy="790"/>
                </a:xfrm>
                <a:effectLst/>
              </p:grpSpPr>
              <p:sp>
                <p:nvSpPr>
                  <p:cNvPr id="19" name="Line 75"/>
                  <p:cNvSpPr>
                    <a:spLocks noChangeShapeType="1"/>
                  </p:cNvSpPr>
                  <p:nvPr/>
                </p:nvSpPr>
                <p:spPr bwMode="gray">
                  <a:xfrm flipH="1">
                    <a:off x="0" y="2405"/>
                    <a:ext cx="652"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0" name="Line 76"/>
                  <p:cNvSpPr>
                    <a:spLocks noChangeShapeType="1"/>
                  </p:cNvSpPr>
                  <p:nvPr/>
                </p:nvSpPr>
                <p:spPr bwMode="gray">
                  <a:xfrm flipH="1">
                    <a:off x="3839" y="2405"/>
                    <a:ext cx="510"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1" name="Arc 77"/>
                  <p:cNvSpPr>
                    <a:spLocks/>
                  </p:cNvSpPr>
                  <p:nvPr/>
                </p:nvSpPr>
                <p:spPr bwMode="gray">
                  <a:xfrm rot="16200000" flipV="1">
                    <a:off x="2052" y="1833"/>
                    <a:ext cx="412"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2" name="Arc 78"/>
                  <p:cNvSpPr>
                    <a:spLocks/>
                  </p:cNvSpPr>
                  <p:nvPr/>
                </p:nvSpPr>
                <p:spPr bwMode="gray">
                  <a:xfrm rot="16200000" flipV="1">
                    <a:off x="4503" y="1831"/>
                    <a:ext cx="418"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3" name="Line 79"/>
                  <p:cNvSpPr>
                    <a:spLocks noChangeShapeType="1"/>
                  </p:cNvSpPr>
                  <p:nvPr/>
                </p:nvSpPr>
                <p:spPr bwMode="gray">
                  <a:xfrm flipH="1">
                    <a:off x="2619" y="2405"/>
                    <a:ext cx="496"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4" name="Arc 80"/>
                  <p:cNvSpPr>
                    <a:spLocks/>
                  </p:cNvSpPr>
                  <p:nvPr/>
                </p:nvSpPr>
                <p:spPr bwMode="gray">
                  <a:xfrm rot="5400000">
                    <a:off x="3278" y="2211"/>
                    <a:ext cx="400"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5" name="Line 81"/>
                  <p:cNvSpPr>
                    <a:spLocks noChangeShapeType="1"/>
                  </p:cNvSpPr>
                  <p:nvPr/>
                </p:nvSpPr>
                <p:spPr bwMode="gray">
                  <a:xfrm flipH="1">
                    <a:off x="5071" y="2405"/>
                    <a:ext cx="689"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6" name="Line 82"/>
                  <p:cNvSpPr>
                    <a:spLocks noChangeShapeType="1"/>
                  </p:cNvSpPr>
                  <p:nvPr/>
                </p:nvSpPr>
                <p:spPr bwMode="gray">
                  <a:xfrm flipH="1">
                    <a:off x="1377" y="2405"/>
                    <a:ext cx="523"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7" name="Arc 83"/>
                  <p:cNvSpPr>
                    <a:spLocks/>
                  </p:cNvSpPr>
                  <p:nvPr/>
                </p:nvSpPr>
                <p:spPr bwMode="gray">
                  <a:xfrm rot="5400000">
                    <a:off x="815" y="2211"/>
                    <a:ext cx="400"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grpSp>
            <p:grpSp>
              <p:nvGrpSpPr>
                <p:cNvPr id="34" name="组合 33"/>
                <p:cNvGrpSpPr/>
                <p:nvPr/>
              </p:nvGrpSpPr>
              <p:grpSpPr>
                <a:xfrm>
                  <a:off x="3273904" y="2266675"/>
                  <a:ext cx="884046" cy="890764"/>
                  <a:chOff x="3213100" y="2044477"/>
                  <a:chExt cx="1044575" cy="1052513"/>
                </a:xfrm>
              </p:grpSpPr>
              <p:sp>
                <p:nvSpPr>
                  <p:cNvPr id="35" name="Oval 4"/>
                  <p:cNvSpPr>
                    <a:spLocks noChangeArrowheads="1"/>
                  </p:cNvSpPr>
                  <p:nvPr/>
                </p:nvSpPr>
                <p:spPr bwMode="gray">
                  <a:xfrm>
                    <a:off x="3216275" y="2044477"/>
                    <a:ext cx="1035050" cy="1052513"/>
                  </a:xfrm>
                  <a:prstGeom prst="ellipse">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36" name="Text Box 61"/>
                  <p:cNvSpPr txBox="1">
                    <a:spLocks noChangeArrowheads="1"/>
                  </p:cNvSpPr>
                  <p:nvPr/>
                </p:nvSpPr>
                <p:spPr bwMode="gray">
                  <a:xfrm>
                    <a:off x="3213100"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a:solidFill>
                          <a:schemeClr val="accent2"/>
                        </a:solidFill>
                        <a:latin typeface="微软雅黑" panose="020B0503020204020204" pitchFamily="34" charset="-122"/>
                        <a:ea typeface="微软雅黑" panose="020B0503020204020204" pitchFamily="34" charset="-122"/>
                        <a:cs typeface="Arial" pitchFamily="34" charset="0"/>
                      </a:rPr>
                      <a:t>标题</a:t>
                    </a:r>
                  </a:p>
                </p:txBody>
              </p:sp>
            </p:grpSp>
            <p:grpSp>
              <p:nvGrpSpPr>
                <p:cNvPr id="37" name="组合 36"/>
                <p:cNvGrpSpPr/>
                <p:nvPr/>
              </p:nvGrpSpPr>
              <p:grpSpPr>
                <a:xfrm>
                  <a:off x="2932646" y="1275606"/>
                  <a:ext cx="5260129" cy="913144"/>
                  <a:chOff x="2809875" y="1298195"/>
                  <a:chExt cx="6215285" cy="1078956"/>
                </a:xfrm>
              </p:grpSpPr>
              <p:sp>
                <p:nvSpPr>
                  <p:cNvPr id="38" name="Line 65"/>
                  <p:cNvSpPr>
                    <a:spLocks noChangeShapeType="1"/>
                  </p:cNvSpPr>
                  <p:nvPr/>
                </p:nvSpPr>
                <p:spPr bwMode="black">
                  <a:xfrm>
                    <a:off x="7632700" y="2042189"/>
                    <a:ext cx="0" cy="334962"/>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39" name="Line 66"/>
                  <p:cNvSpPr>
                    <a:spLocks noChangeShapeType="1"/>
                  </p:cNvSpPr>
                  <p:nvPr/>
                </p:nvSpPr>
                <p:spPr bwMode="black">
                  <a:xfrm flipH="1">
                    <a:off x="6769100" y="2040601"/>
                    <a:ext cx="1631950" cy="0"/>
                  </a:xfrm>
                  <a:prstGeom prst="line">
                    <a:avLst/>
                  </a:prstGeom>
                  <a:noFill/>
                  <a:ln w="19050">
                    <a:solidFill>
                      <a:schemeClr val="tx2"/>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40" name="Line 69"/>
                  <p:cNvSpPr>
                    <a:spLocks noChangeShapeType="1"/>
                  </p:cNvSpPr>
                  <p:nvPr/>
                </p:nvSpPr>
                <p:spPr bwMode="black">
                  <a:xfrm flipH="1">
                    <a:off x="2809875" y="1995686"/>
                    <a:ext cx="1771650" cy="0"/>
                  </a:xfrm>
                  <a:prstGeom prst="line">
                    <a:avLst/>
                  </a:prstGeom>
                  <a:noFill/>
                  <a:ln w="19050">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41" name="Text Box 70"/>
                  <p:cNvSpPr txBox="1">
                    <a:spLocks noChangeArrowheads="1"/>
                  </p:cNvSpPr>
                  <p:nvPr/>
                </p:nvSpPr>
                <p:spPr bwMode="auto">
                  <a:xfrm>
                    <a:off x="3066629" y="1298195"/>
                    <a:ext cx="2070100" cy="552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F8F8F8"/>
                      </a:buClr>
                    </a:pPr>
                    <a:r>
                      <a:rPr lang="zh-CN" altLang="en-US" sz="900" dirty="0">
                        <a:solidFill>
                          <a:schemeClr val="accent1"/>
                        </a:solidFill>
                        <a:latin typeface="微软雅黑" panose="020B0503020204020204" pitchFamily="34" charset="-122"/>
                        <a:ea typeface="微软雅黑" panose="020B0503020204020204" pitchFamily="34" charset="-122"/>
                        <a:cs typeface="Arial" pitchFamily="34" charset="0"/>
                      </a:rPr>
                      <a:t>点击此处添加文字</a:t>
                    </a:r>
                    <a:endParaRPr lang="en-US" altLang="zh-CN" sz="900" dirty="0">
                      <a:solidFill>
                        <a:schemeClr val="accent1"/>
                      </a:solidFill>
                      <a:latin typeface="微软雅黑" panose="020B0503020204020204" pitchFamily="34" charset="-122"/>
                      <a:ea typeface="微软雅黑" panose="020B0503020204020204" pitchFamily="34" charset="-122"/>
                      <a:cs typeface="Arial" pitchFamily="34" charset="0"/>
                    </a:endParaRPr>
                  </a:p>
                  <a:p>
                    <a:pPr eaLnBrk="1" hangingPunct="1">
                      <a:lnSpc>
                        <a:spcPct val="130000"/>
                      </a:lnSpc>
                      <a:buClr>
                        <a:srgbClr val="F8F8F8"/>
                      </a:buClr>
                    </a:pPr>
                    <a:r>
                      <a:rPr lang="zh-CN" altLang="en-US" sz="900" dirty="0">
                        <a:solidFill>
                          <a:schemeClr val="accent1"/>
                        </a:solidFill>
                        <a:latin typeface="微软雅黑" panose="020B0503020204020204" pitchFamily="34" charset="-122"/>
                        <a:ea typeface="微软雅黑" panose="020B0503020204020204" pitchFamily="34" charset="-122"/>
                        <a:cs typeface="Arial" pitchFamily="34" charset="0"/>
                      </a:rPr>
                      <a:t>点击此处添加文字</a:t>
                    </a:r>
                  </a:p>
                </p:txBody>
              </p:sp>
              <p:sp>
                <p:nvSpPr>
                  <p:cNvPr id="42" name="Line 71"/>
                  <p:cNvSpPr>
                    <a:spLocks noChangeShapeType="1"/>
                  </p:cNvSpPr>
                  <p:nvPr/>
                </p:nvSpPr>
                <p:spPr bwMode="black">
                  <a:xfrm>
                    <a:off x="3736975" y="1995686"/>
                    <a:ext cx="0" cy="334962"/>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43" name="Text Box 70"/>
                  <p:cNvSpPr txBox="1">
                    <a:spLocks noChangeArrowheads="1"/>
                  </p:cNvSpPr>
                  <p:nvPr/>
                </p:nvSpPr>
                <p:spPr bwMode="auto">
                  <a:xfrm>
                    <a:off x="6955060" y="1370204"/>
                    <a:ext cx="2070100" cy="552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F8F8F8"/>
                      </a:buClr>
                    </a:pPr>
                    <a:r>
                      <a:rPr lang="zh-CN" altLang="en-US" sz="900" dirty="0">
                        <a:solidFill>
                          <a:schemeClr val="accent1"/>
                        </a:solidFill>
                        <a:latin typeface="微软雅黑" panose="020B0503020204020204" pitchFamily="34" charset="-122"/>
                        <a:ea typeface="微软雅黑" panose="020B0503020204020204" pitchFamily="34" charset="-122"/>
                        <a:cs typeface="Arial" pitchFamily="34" charset="0"/>
                      </a:rPr>
                      <a:t>点击此处添加文字</a:t>
                    </a:r>
                    <a:endParaRPr lang="en-US" altLang="zh-CN" sz="900" dirty="0">
                      <a:solidFill>
                        <a:schemeClr val="accent1"/>
                      </a:solidFill>
                      <a:latin typeface="微软雅黑" panose="020B0503020204020204" pitchFamily="34" charset="-122"/>
                      <a:ea typeface="微软雅黑" panose="020B0503020204020204" pitchFamily="34" charset="-122"/>
                      <a:cs typeface="Arial" pitchFamily="34" charset="0"/>
                    </a:endParaRPr>
                  </a:p>
                  <a:p>
                    <a:pPr eaLnBrk="1" hangingPunct="1">
                      <a:lnSpc>
                        <a:spcPct val="130000"/>
                      </a:lnSpc>
                      <a:buClr>
                        <a:srgbClr val="F8F8F8"/>
                      </a:buClr>
                    </a:pPr>
                    <a:r>
                      <a:rPr lang="zh-CN" altLang="en-US" sz="900" dirty="0">
                        <a:solidFill>
                          <a:schemeClr val="accent1"/>
                        </a:solidFill>
                        <a:latin typeface="微软雅黑" panose="020B0503020204020204" pitchFamily="34" charset="-122"/>
                        <a:ea typeface="微软雅黑" panose="020B0503020204020204" pitchFamily="34" charset="-122"/>
                        <a:cs typeface="Arial" pitchFamily="34" charset="0"/>
                      </a:rPr>
                      <a:t>点击此处添加文字</a:t>
                    </a:r>
                  </a:p>
                </p:txBody>
              </p:sp>
            </p:grpSp>
          </p:grpSp>
        </p:grpSp>
      </p:grpSp>
      <p:grpSp>
        <p:nvGrpSpPr>
          <p:cNvPr id="48" name="组合 47">
            <a:extLst>
              <a:ext uri="{FF2B5EF4-FFF2-40B4-BE49-F238E27FC236}">
                <a16:creationId xmlns:a16="http://schemas.microsoft.com/office/drawing/2014/main" id="{52F9A828-A28E-4B56-BD9E-DD73645ED8C4}"/>
              </a:ext>
            </a:extLst>
          </p:cNvPr>
          <p:cNvGrpSpPr/>
          <p:nvPr/>
        </p:nvGrpSpPr>
        <p:grpSpPr>
          <a:xfrm>
            <a:off x="4520937" y="330411"/>
            <a:ext cx="4122747" cy="788287"/>
            <a:chOff x="4572000" y="372139"/>
            <a:chExt cx="4122747" cy="788287"/>
          </a:xfrm>
        </p:grpSpPr>
        <p:grpSp>
          <p:nvGrpSpPr>
            <p:cNvPr id="49" name="组合 48">
              <a:extLst>
                <a:ext uri="{FF2B5EF4-FFF2-40B4-BE49-F238E27FC236}">
                  <a16:creationId xmlns:a16="http://schemas.microsoft.com/office/drawing/2014/main" id="{CDC14C35-45EE-4FAD-B850-45574568F4AA}"/>
                </a:ext>
              </a:extLst>
            </p:cNvPr>
            <p:cNvGrpSpPr/>
            <p:nvPr/>
          </p:nvGrpSpPr>
          <p:grpSpPr>
            <a:xfrm>
              <a:off x="4572000" y="372139"/>
              <a:ext cx="3524752" cy="788287"/>
              <a:chOff x="4932040" y="411510"/>
              <a:chExt cx="3524752" cy="788287"/>
            </a:xfrm>
          </p:grpSpPr>
          <p:sp>
            <p:nvSpPr>
              <p:cNvPr id="51" name="Text Placeholder 8">
                <a:extLst>
                  <a:ext uri="{FF2B5EF4-FFF2-40B4-BE49-F238E27FC236}">
                    <a16:creationId xmlns:a16="http://schemas.microsoft.com/office/drawing/2014/main" id="{0DD387BF-24BE-405F-8407-BFE1297BE70E}"/>
                  </a:ext>
                </a:extLst>
              </p:cNvPr>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600" dirty="0">
                    <a:solidFill>
                      <a:schemeClr val="tx2"/>
                    </a:solidFill>
                    <a:latin typeface="微软雅黑" panose="020B0503020204020204" pitchFamily="34" charset="-122"/>
                    <a:ea typeface="微软雅黑" panose="020B0503020204020204" pitchFamily="34" charset="-122"/>
                  </a:rPr>
                  <a:t>标题内容</a:t>
                </a:r>
                <a:endParaRPr lang="en-US" altLang="zh-CN" sz="2600" dirty="0">
                  <a:solidFill>
                    <a:schemeClr val="tx2"/>
                  </a:solidFill>
                  <a:latin typeface="微软雅黑" panose="020B0503020204020204" pitchFamily="34" charset="-122"/>
                  <a:ea typeface="微软雅黑" panose="020B0503020204020204" pitchFamily="34" charset="-122"/>
                </a:endParaRPr>
              </a:p>
            </p:txBody>
          </p:sp>
          <p:sp>
            <p:nvSpPr>
              <p:cNvPr id="52" name="Text Placeholder 9">
                <a:extLst>
                  <a:ext uri="{FF2B5EF4-FFF2-40B4-BE49-F238E27FC236}">
                    <a16:creationId xmlns:a16="http://schemas.microsoft.com/office/drawing/2014/main" id="{34A92C16-FC36-489B-B202-61E5A508AF37}"/>
                  </a:ext>
                </a:extLst>
              </p:cNvPr>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400" dirty="0">
                    <a:solidFill>
                      <a:schemeClr val="accent1"/>
                    </a:solidFill>
                    <a:latin typeface="微软雅黑" panose="020B0503020204020204" pitchFamily="34" charset="-122"/>
                    <a:ea typeface="微软雅黑" panose="020B0503020204020204" pitchFamily="34" charset="-122"/>
                  </a:rPr>
                  <a:t>单击此处添加副标题</a:t>
                </a:r>
                <a:endParaRPr lang="en-US" altLang="zh-CN" sz="1400" dirty="0">
                  <a:solidFill>
                    <a:schemeClr val="accent1"/>
                  </a:solidFill>
                  <a:latin typeface="微软雅黑" panose="020B0503020204020204" pitchFamily="34" charset="-122"/>
                  <a:ea typeface="微软雅黑" panose="020B0503020204020204" pitchFamily="34" charset="-122"/>
                </a:endParaRPr>
              </a:p>
            </p:txBody>
          </p:sp>
          <p:cxnSp>
            <p:nvCxnSpPr>
              <p:cNvPr id="53" name="Straight Connector 12">
                <a:extLst>
                  <a:ext uri="{FF2B5EF4-FFF2-40B4-BE49-F238E27FC236}">
                    <a16:creationId xmlns:a16="http://schemas.microsoft.com/office/drawing/2014/main" id="{E5343ED4-C6E3-406A-A218-49F038B4FB96}"/>
                  </a:ext>
                </a:extLst>
              </p:cNvPr>
              <p:cNvCxnSpPr>
                <a:cxnSpLocks/>
              </p:cNvCxnSpPr>
              <p:nvPr/>
            </p:nvCxnSpPr>
            <p:spPr>
              <a:xfrm>
                <a:off x="8456792" y="490922"/>
                <a:ext cx="0" cy="51773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50" name="图片 49">
              <a:extLst>
                <a:ext uri="{FF2B5EF4-FFF2-40B4-BE49-F238E27FC236}">
                  <a16:creationId xmlns:a16="http://schemas.microsoft.com/office/drawing/2014/main" id="{5FF640A1-9AD5-4C99-A5A3-218E019826E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36777" y="451551"/>
              <a:ext cx="457970" cy="457359"/>
            </a:xfrm>
            <a:prstGeom prst="rect">
              <a:avLst/>
            </a:prstGeom>
          </p:spPr>
        </p:pic>
      </p:grpSp>
      <p:pic>
        <p:nvPicPr>
          <p:cNvPr id="60" name="图片 59">
            <a:extLst>
              <a:ext uri="{FF2B5EF4-FFF2-40B4-BE49-F238E27FC236}">
                <a16:creationId xmlns:a16="http://schemas.microsoft.com/office/drawing/2014/main" id="{CE108417-369B-4008-8EEF-DCD5E630996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16531" y="3696313"/>
            <a:ext cx="1258315" cy="1022834"/>
          </a:xfrm>
          <a:prstGeom prst="rect">
            <a:avLst/>
          </a:prstGeom>
        </p:spPr>
      </p:pic>
    </p:spTree>
    <p:extLst>
      <p:ext uri="{BB962C8B-B14F-4D97-AF65-F5344CB8AC3E}">
        <p14:creationId xmlns:p14="http://schemas.microsoft.com/office/powerpoint/2010/main" val="2411845043"/>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57"/>
          <p:cNvGrpSpPr/>
          <p:nvPr/>
        </p:nvGrpSpPr>
        <p:grpSpPr>
          <a:xfrm>
            <a:off x="1589031" y="1221601"/>
            <a:ext cx="3054563" cy="2712179"/>
            <a:chOff x="5625793" y="1599766"/>
            <a:chExt cx="4594903" cy="4080928"/>
          </a:xfrm>
          <a:solidFill>
            <a:srgbClr val="DC4415"/>
          </a:solidFill>
        </p:grpSpPr>
        <p:grpSp>
          <p:nvGrpSpPr>
            <p:cNvPr id="15" name="Group 58"/>
            <p:cNvGrpSpPr/>
            <p:nvPr/>
          </p:nvGrpSpPr>
          <p:grpSpPr>
            <a:xfrm>
              <a:off x="6191250" y="1599766"/>
              <a:ext cx="3473482" cy="1069614"/>
              <a:chOff x="6191250" y="1599766"/>
              <a:chExt cx="3473482" cy="1069614"/>
            </a:xfrm>
            <a:grpFill/>
          </p:grpSpPr>
          <p:sp>
            <p:nvSpPr>
              <p:cNvPr id="21" name="Freeform 64"/>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22" name="Freeform 65"/>
              <p:cNvSpPr/>
              <p:nvPr/>
            </p:nvSpPr>
            <p:spPr bwMode="auto">
              <a:xfrm flipH="1">
                <a:off x="804310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16" name="Group 59"/>
            <p:cNvGrpSpPr/>
            <p:nvPr/>
          </p:nvGrpSpPr>
          <p:grpSpPr>
            <a:xfrm flipV="1">
              <a:off x="6191251" y="4611080"/>
              <a:ext cx="3473482" cy="1069614"/>
              <a:chOff x="6191251" y="1599766"/>
              <a:chExt cx="3473482" cy="1069614"/>
            </a:xfrm>
            <a:grpFill/>
          </p:grpSpPr>
          <p:sp>
            <p:nvSpPr>
              <p:cNvPr id="19" name="Freeform 62"/>
              <p:cNvSpPr/>
              <p:nvPr/>
            </p:nvSpPr>
            <p:spPr bwMode="auto">
              <a:xfrm>
                <a:off x="619125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20" name="Freeform 63"/>
              <p:cNvSpPr/>
              <p:nvPr/>
            </p:nvSpPr>
            <p:spPr bwMode="auto">
              <a:xfrm flipH="1">
                <a:off x="8043102"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17" name="Freeform 60"/>
            <p:cNvSpPr/>
            <p:nvPr/>
          </p:nvSpPr>
          <p:spPr bwMode="auto">
            <a:xfrm rot="17954294">
              <a:off x="5349784"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18" name="Freeform 61"/>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23" name="TextBox 40"/>
          <p:cNvSpPr txBox="1"/>
          <p:nvPr/>
        </p:nvSpPr>
        <p:spPr>
          <a:xfrm>
            <a:off x="5943280" y="1605444"/>
            <a:ext cx="1581134"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rPr>
              <a:t>单击此处添加文本</a:t>
            </a: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endParaRPr>
          </a:p>
        </p:txBody>
      </p:sp>
      <p:sp>
        <p:nvSpPr>
          <p:cNvPr id="24" name="TextBox 42"/>
          <p:cNvSpPr txBox="1"/>
          <p:nvPr/>
        </p:nvSpPr>
        <p:spPr>
          <a:xfrm>
            <a:off x="5976156" y="2571750"/>
            <a:ext cx="1548258"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rPr>
              <a:t>单击此处添加文本</a:t>
            </a:r>
            <a:endParaRPr lang="en-US" altLang="zh-CN"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endParaRPr>
          </a:p>
        </p:txBody>
      </p:sp>
      <p:sp>
        <p:nvSpPr>
          <p:cNvPr id="25" name="TextBox 43"/>
          <p:cNvSpPr txBox="1"/>
          <p:nvPr/>
        </p:nvSpPr>
        <p:spPr>
          <a:xfrm>
            <a:off x="5952469" y="3651870"/>
            <a:ext cx="1431239"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rPr>
              <a:t>单击此处添加文本</a:t>
            </a:r>
            <a:endParaRPr lang="en-US" altLang="zh-CN"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endParaRPr>
          </a:p>
        </p:txBody>
      </p:sp>
      <p:grpSp>
        <p:nvGrpSpPr>
          <p:cNvPr id="26" name="Group 90"/>
          <p:cNvGrpSpPr/>
          <p:nvPr/>
        </p:nvGrpSpPr>
        <p:grpSpPr>
          <a:xfrm>
            <a:off x="5187196" y="2373548"/>
            <a:ext cx="633846" cy="562947"/>
            <a:chOff x="8698531" y="2391463"/>
            <a:chExt cx="828966" cy="736049"/>
          </a:xfrm>
          <a:solidFill>
            <a:schemeClr val="bg2"/>
          </a:solidFill>
        </p:grpSpPr>
        <p:sp>
          <p:nvSpPr>
            <p:cNvPr id="27" name="Freeform 237"/>
            <p:cNvSpPr>
              <a:spLocks noChangeAspect="1"/>
            </p:cNvSpPr>
            <p:nvPr/>
          </p:nvSpPr>
          <p:spPr bwMode="auto">
            <a:xfrm>
              <a:off x="8933547" y="2599629"/>
              <a:ext cx="358934" cy="319717"/>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nvGrpSpPr>
            <p:cNvPr id="28" name="Group 92"/>
            <p:cNvGrpSpPr/>
            <p:nvPr/>
          </p:nvGrpSpPr>
          <p:grpSpPr>
            <a:xfrm>
              <a:off x="8698531" y="2391463"/>
              <a:ext cx="828966" cy="736049"/>
              <a:chOff x="5625794" y="1599766"/>
              <a:chExt cx="4594902" cy="4080930"/>
            </a:xfrm>
            <a:grpFill/>
          </p:grpSpPr>
          <p:grpSp>
            <p:nvGrpSpPr>
              <p:cNvPr id="29" name="Group 93"/>
              <p:cNvGrpSpPr/>
              <p:nvPr/>
            </p:nvGrpSpPr>
            <p:grpSpPr>
              <a:xfrm>
                <a:off x="6191250" y="1599766"/>
                <a:ext cx="3473485" cy="1069614"/>
                <a:chOff x="6191250" y="1599766"/>
                <a:chExt cx="3473485" cy="1069614"/>
              </a:xfrm>
              <a:grpFill/>
            </p:grpSpPr>
            <p:sp>
              <p:nvSpPr>
                <p:cNvPr id="35" name="Freeform 99"/>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36" name="Freeform 100"/>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30" name="Group 94"/>
              <p:cNvGrpSpPr/>
              <p:nvPr/>
            </p:nvGrpSpPr>
            <p:grpSpPr>
              <a:xfrm flipV="1">
                <a:off x="6191250" y="4611080"/>
                <a:ext cx="3473483" cy="1069616"/>
                <a:chOff x="6191250" y="1599764"/>
                <a:chExt cx="3473483" cy="1069616"/>
              </a:xfrm>
              <a:grpFill/>
            </p:grpSpPr>
            <p:sp>
              <p:nvSpPr>
                <p:cNvPr id="33" name="Freeform 97"/>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34" name="Freeform 98"/>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31" name="Freeform 95"/>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32" name="Freeform 96"/>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grpSp>
        <p:nvGrpSpPr>
          <p:cNvPr id="37" name="Group 101"/>
          <p:cNvGrpSpPr/>
          <p:nvPr/>
        </p:nvGrpSpPr>
        <p:grpSpPr>
          <a:xfrm>
            <a:off x="5187196" y="3476555"/>
            <a:ext cx="633846" cy="562947"/>
            <a:chOff x="8698531" y="3979675"/>
            <a:chExt cx="828966" cy="736049"/>
          </a:xfrm>
          <a:solidFill>
            <a:schemeClr val="tx2"/>
          </a:solidFill>
        </p:grpSpPr>
        <p:sp>
          <p:nvSpPr>
            <p:cNvPr id="38" name="Freeform 100"/>
            <p:cNvSpPr>
              <a:spLocks noEditPoints="1"/>
            </p:cNvSpPr>
            <p:nvPr/>
          </p:nvSpPr>
          <p:spPr bwMode="black">
            <a:xfrm>
              <a:off x="8957393" y="4225167"/>
              <a:ext cx="371203" cy="245065"/>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nvGrpSpPr>
            <p:cNvPr id="39" name="Group 103"/>
            <p:cNvGrpSpPr/>
            <p:nvPr/>
          </p:nvGrpSpPr>
          <p:grpSpPr>
            <a:xfrm>
              <a:off x="8698531" y="3979675"/>
              <a:ext cx="828966" cy="736049"/>
              <a:chOff x="5625794" y="1599766"/>
              <a:chExt cx="4594902" cy="4080930"/>
            </a:xfrm>
            <a:grpFill/>
          </p:grpSpPr>
          <p:grpSp>
            <p:nvGrpSpPr>
              <p:cNvPr id="40" name="Group 104"/>
              <p:cNvGrpSpPr/>
              <p:nvPr/>
            </p:nvGrpSpPr>
            <p:grpSpPr>
              <a:xfrm>
                <a:off x="6191250" y="1599766"/>
                <a:ext cx="3473485" cy="1069614"/>
                <a:chOff x="6191250" y="1599766"/>
                <a:chExt cx="3473485" cy="1069614"/>
              </a:xfrm>
              <a:grpFill/>
            </p:grpSpPr>
            <p:sp>
              <p:nvSpPr>
                <p:cNvPr id="46" name="Freeform 11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47" name="Freeform 111"/>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41" name="Group 105"/>
              <p:cNvGrpSpPr/>
              <p:nvPr/>
            </p:nvGrpSpPr>
            <p:grpSpPr>
              <a:xfrm flipV="1">
                <a:off x="6191250" y="4611080"/>
                <a:ext cx="3473483" cy="1069616"/>
                <a:chOff x="6191250" y="1599764"/>
                <a:chExt cx="3473483" cy="1069616"/>
              </a:xfrm>
              <a:grpFill/>
            </p:grpSpPr>
            <p:sp>
              <p:nvSpPr>
                <p:cNvPr id="44" name="Freeform 10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45" name="Freeform 109"/>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42" name="Freeform 106"/>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43" name="Freeform 107"/>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sp>
        <p:nvSpPr>
          <p:cNvPr id="48" name="Right Brace 112"/>
          <p:cNvSpPr/>
          <p:nvPr/>
        </p:nvSpPr>
        <p:spPr>
          <a:xfrm rot="10800000">
            <a:off x="4613367" y="1520181"/>
            <a:ext cx="427545" cy="2258569"/>
          </a:xfrm>
          <a:prstGeom prst="rightBrace">
            <a:avLst>
              <a:gd name="adj1" fmla="val 47292"/>
              <a:gd name="adj2" fmla="val 50110"/>
            </a:avLst>
          </a:prstGeom>
          <a:ln w="127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lIns="69896" tIns="34949" rIns="69896" bIns="34949" rtlCol="0" anchor="ctr"/>
          <a:lstStyle/>
          <a:p>
            <a:pPr algn="ctr" defTabSz="699233"/>
            <a:endParaRPr lang="en-US" sz="1350">
              <a:solidFill>
                <a:schemeClr val="accent1"/>
              </a:solidFill>
              <a:latin typeface="微软雅黑" panose="020B0503020204020204" pitchFamily="34" charset="-122"/>
              <a:ea typeface="微软雅黑" panose="020B0503020204020204" pitchFamily="34" charset="-122"/>
            </a:endParaRPr>
          </a:p>
        </p:txBody>
      </p:sp>
      <p:grpSp>
        <p:nvGrpSpPr>
          <p:cNvPr id="49" name="Group 113"/>
          <p:cNvGrpSpPr/>
          <p:nvPr/>
        </p:nvGrpSpPr>
        <p:grpSpPr>
          <a:xfrm>
            <a:off x="5177363" y="1437624"/>
            <a:ext cx="633846" cy="562947"/>
            <a:chOff x="2393096" y="3314046"/>
            <a:chExt cx="828750" cy="736049"/>
          </a:xfrm>
          <a:solidFill>
            <a:schemeClr val="bg1"/>
          </a:solidFill>
        </p:grpSpPr>
        <p:sp>
          <p:nvSpPr>
            <p:cNvPr id="50" name="Donut 1"/>
            <p:cNvSpPr/>
            <p:nvPr/>
          </p:nvSpPr>
          <p:spPr bwMode="auto">
            <a:xfrm>
              <a:off x="2627474" y="3511580"/>
              <a:ext cx="359995" cy="358073"/>
            </a:xfrm>
            <a:custGeom>
              <a:avLst/>
              <a:gdLst/>
              <a:ahLst/>
              <a:cxnLst/>
              <a:rect l="l" t="t" r="r" b="b"/>
              <a:pathLst>
                <a:path w="359995" h="358073">
                  <a:moveTo>
                    <a:pt x="1123" y="199707"/>
                  </a:moveTo>
                  <a:lnTo>
                    <a:pt x="124671" y="200830"/>
                  </a:lnTo>
                  <a:lnTo>
                    <a:pt x="166228" y="236771"/>
                  </a:lnTo>
                  <a:cubicBezTo>
                    <a:pt x="147787" y="236941"/>
                    <a:pt x="129346" y="237110"/>
                    <a:pt x="110905" y="237279"/>
                  </a:cubicBezTo>
                  <a:cubicBezTo>
                    <a:pt x="126331" y="262471"/>
                    <a:pt x="154567" y="277062"/>
                    <a:pt x="186212" y="277062"/>
                  </a:cubicBezTo>
                  <a:cubicBezTo>
                    <a:pt x="225799" y="277062"/>
                    <a:pt x="260053" y="254227"/>
                    <a:pt x="276157" y="220830"/>
                  </a:cubicBezTo>
                  <a:lnTo>
                    <a:pt x="356653" y="220830"/>
                  </a:lnTo>
                  <a:cubicBezTo>
                    <a:pt x="337124" y="296696"/>
                    <a:pt x="268203" y="352658"/>
                    <a:pt x="186212" y="352658"/>
                  </a:cubicBezTo>
                  <a:cubicBezTo>
                    <a:pt x="127185" y="352658"/>
                    <a:pt x="74933" y="323655"/>
                    <a:pt x="43803" y="278531"/>
                  </a:cubicBezTo>
                  <a:lnTo>
                    <a:pt x="43803" y="289560"/>
                  </a:lnTo>
                  <a:lnTo>
                    <a:pt x="38188" y="358073"/>
                  </a:lnTo>
                  <a:lnTo>
                    <a:pt x="0" y="326625"/>
                  </a:lnTo>
                  <a:close/>
                  <a:moveTo>
                    <a:pt x="186212" y="0"/>
                  </a:moveTo>
                  <a:cubicBezTo>
                    <a:pt x="241995" y="0"/>
                    <a:pt x="291729" y="25904"/>
                    <a:pt x="321951" y="67970"/>
                  </a:cubicBezTo>
                  <a:cubicBezTo>
                    <a:pt x="322151" y="46267"/>
                    <a:pt x="322350" y="24565"/>
                    <a:pt x="322549" y="2862"/>
                  </a:cubicBezTo>
                  <a:lnTo>
                    <a:pt x="358490" y="44419"/>
                  </a:lnTo>
                  <a:lnTo>
                    <a:pt x="359413" y="145933"/>
                  </a:lnTo>
                  <a:cubicBezTo>
                    <a:pt x="359808" y="146450"/>
                    <a:pt x="359903" y="147019"/>
                    <a:pt x="359995" y="147588"/>
                  </a:cubicBezTo>
                  <a:lnTo>
                    <a:pt x="359428" y="147588"/>
                  </a:lnTo>
                  <a:lnTo>
                    <a:pt x="359613" y="167968"/>
                  </a:lnTo>
                  <a:lnTo>
                    <a:pt x="232696" y="169091"/>
                  </a:lnTo>
                  <a:lnTo>
                    <a:pt x="201247" y="130903"/>
                  </a:lnTo>
                  <a:lnTo>
                    <a:pt x="269760" y="125288"/>
                  </a:lnTo>
                  <a:lnTo>
                    <a:pt x="271731" y="125288"/>
                  </a:lnTo>
                  <a:cubicBezTo>
                    <a:pt x="255176" y="95313"/>
                    <a:pt x="222996" y="75596"/>
                    <a:pt x="186212" y="75596"/>
                  </a:cubicBezTo>
                  <a:cubicBezTo>
                    <a:pt x="140615" y="75596"/>
                    <a:pt x="102095" y="105890"/>
                    <a:pt x="90145" y="147588"/>
                  </a:cubicBezTo>
                  <a:lnTo>
                    <a:pt x="12428" y="147588"/>
                  </a:lnTo>
                  <a:cubicBezTo>
                    <a:pt x="25957" y="63857"/>
                    <a:pt x="98627" y="0"/>
                    <a:pt x="1862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nvGrpSpPr>
            <p:cNvPr id="51" name="Group 115"/>
            <p:cNvGrpSpPr/>
            <p:nvPr/>
          </p:nvGrpSpPr>
          <p:grpSpPr>
            <a:xfrm>
              <a:off x="2393096" y="3314046"/>
              <a:ext cx="828750" cy="736049"/>
              <a:chOff x="5625794" y="1599766"/>
              <a:chExt cx="4594902" cy="4080930"/>
            </a:xfrm>
            <a:grpFill/>
          </p:grpSpPr>
          <p:grpSp>
            <p:nvGrpSpPr>
              <p:cNvPr id="52" name="Group 116"/>
              <p:cNvGrpSpPr/>
              <p:nvPr/>
            </p:nvGrpSpPr>
            <p:grpSpPr>
              <a:xfrm>
                <a:off x="6191250" y="1599766"/>
                <a:ext cx="3473485" cy="1069614"/>
                <a:chOff x="6191250" y="1599766"/>
                <a:chExt cx="3473485" cy="1069614"/>
              </a:xfrm>
              <a:grpFill/>
            </p:grpSpPr>
            <p:sp>
              <p:nvSpPr>
                <p:cNvPr id="58" name="Freeform 122"/>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59" name="Freeform 123"/>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53" name="Group 117"/>
              <p:cNvGrpSpPr/>
              <p:nvPr/>
            </p:nvGrpSpPr>
            <p:grpSpPr>
              <a:xfrm flipV="1">
                <a:off x="6191250" y="4611080"/>
                <a:ext cx="3473483" cy="1069616"/>
                <a:chOff x="6191250" y="1599764"/>
                <a:chExt cx="3473483" cy="1069616"/>
              </a:xfrm>
              <a:grpFill/>
            </p:grpSpPr>
            <p:sp>
              <p:nvSpPr>
                <p:cNvPr id="56" name="Freeform 12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57" name="Freeform 121"/>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54" name="Freeform 118"/>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55" name="Freeform 119"/>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grpSp>
        <p:nvGrpSpPr>
          <p:cNvPr id="60" name="组合 59"/>
          <p:cNvGrpSpPr/>
          <p:nvPr/>
        </p:nvGrpSpPr>
        <p:grpSpPr>
          <a:xfrm>
            <a:off x="2274252" y="2001510"/>
            <a:ext cx="1689711" cy="1267531"/>
            <a:chOff x="1508336" y="2668679"/>
            <a:chExt cx="2252948" cy="1690040"/>
          </a:xfrm>
        </p:grpSpPr>
        <p:sp>
          <p:nvSpPr>
            <p:cNvPr id="61" name="Rectangle 56"/>
            <p:cNvSpPr/>
            <p:nvPr/>
          </p:nvSpPr>
          <p:spPr>
            <a:xfrm>
              <a:off x="1530811" y="2668679"/>
              <a:ext cx="2138983" cy="384721"/>
            </a:xfrm>
            <a:prstGeom prst="rect">
              <a:avLst/>
            </a:prstGeom>
            <a:noFill/>
            <a:ln>
              <a:noFill/>
            </a:ln>
          </p:spPr>
          <p:txBody>
            <a:bodyPr wrap="square">
              <a:spAutoFit/>
            </a:bodyPr>
            <a:lstStyle/>
            <a:p>
              <a:pPr algn="ctr" defTabSz="698894" fontAlgn="base">
                <a:lnSpc>
                  <a:spcPct val="85000"/>
                </a:lnSpc>
                <a:spcBef>
                  <a:spcPct val="0"/>
                </a:spcBef>
                <a:spcAft>
                  <a:spcPct val="0"/>
                </a:spcAft>
              </a:pPr>
              <a:r>
                <a:rPr lang="zh-CN" altLang="en-US" sz="1500" b="1" dirty="0">
                  <a:solidFill>
                    <a:schemeClr val="accent1"/>
                  </a:solidFill>
                  <a:latin typeface="微软雅黑" panose="020B0503020204020204" pitchFamily="34" charset="-122"/>
                  <a:ea typeface="微软雅黑" panose="020B0503020204020204" pitchFamily="34" charset="-122"/>
                  <a:cs typeface="Segoe UI" pitchFamily="34" charset="0"/>
                </a:rPr>
                <a:t>单击添加文本</a:t>
              </a:r>
              <a:endParaRPr lang="en-US" altLang="zh-CN" sz="1500" b="1"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62" name="矩形 61"/>
            <p:cNvSpPr/>
            <p:nvPr/>
          </p:nvSpPr>
          <p:spPr>
            <a:xfrm>
              <a:off x="1508336" y="3250724"/>
              <a:ext cx="2252948" cy="1107995"/>
            </a:xfrm>
            <a:prstGeom prst="rect">
              <a:avLst/>
            </a:prstGeom>
          </p:spPr>
          <p:txBody>
            <a:bodyPr wrap="square">
              <a:spAutoFit/>
            </a:bodyPr>
            <a:lstStyle/>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单击此处添加文本</a:t>
              </a:r>
            </a:p>
          </p:txBody>
        </p:sp>
      </p:grpSp>
      <p:grpSp>
        <p:nvGrpSpPr>
          <p:cNvPr id="69" name="组合 68">
            <a:extLst>
              <a:ext uri="{FF2B5EF4-FFF2-40B4-BE49-F238E27FC236}">
                <a16:creationId xmlns:a16="http://schemas.microsoft.com/office/drawing/2014/main" id="{33FE89A9-4BC7-4903-8AB1-6AE471857CED}"/>
              </a:ext>
            </a:extLst>
          </p:cNvPr>
          <p:cNvGrpSpPr/>
          <p:nvPr/>
        </p:nvGrpSpPr>
        <p:grpSpPr>
          <a:xfrm>
            <a:off x="4577636" y="332828"/>
            <a:ext cx="4086895" cy="788287"/>
            <a:chOff x="4687332" y="287447"/>
            <a:chExt cx="4086895" cy="788287"/>
          </a:xfrm>
        </p:grpSpPr>
        <p:grpSp>
          <p:nvGrpSpPr>
            <p:cNvPr id="70" name="组合 69">
              <a:extLst>
                <a:ext uri="{FF2B5EF4-FFF2-40B4-BE49-F238E27FC236}">
                  <a16:creationId xmlns:a16="http://schemas.microsoft.com/office/drawing/2014/main" id="{490BCCDF-6C17-4973-9A52-1E7672B3F788}"/>
                </a:ext>
              </a:extLst>
            </p:cNvPr>
            <p:cNvGrpSpPr/>
            <p:nvPr/>
          </p:nvGrpSpPr>
          <p:grpSpPr>
            <a:xfrm>
              <a:off x="4687332" y="287447"/>
              <a:ext cx="3510263" cy="788287"/>
              <a:chOff x="4932040" y="411510"/>
              <a:chExt cx="3510263" cy="788287"/>
            </a:xfrm>
          </p:grpSpPr>
          <p:sp>
            <p:nvSpPr>
              <p:cNvPr id="72" name="Text Placeholder 8">
                <a:extLst>
                  <a:ext uri="{FF2B5EF4-FFF2-40B4-BE49-F238E27FC236}">
                    <a16:creationId xmlns:a16="http://schemas.microsoft.com/office/drawing/2014/main" id="{D13D02D8-3803-4034-B18D-7EC233B6725B}"/>
                  </a:ext>
                </a:extLst>
              </p:cNvPr>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600" dirty="0">
                    <a:solidFill>
                      <a:schemeClr val="bg1"/>
                    </a:solidFill>
                    <a:latin typeface="微软雅黑" panose="020B0503020204020204" pitchFamily="34" charset="-122"/>
                    <a:ea typeface="微软雅黑" panose="020B0503020204020204" pitchFamily="34" charset="-122"/>
                  </a:rPr>
                  <a:t>标题内容</a:t>
                </a:r>
                <a:endParaRPr lang="en-US" altLang="zh-CN" sz="2600" dirty="0">
                  <a:solidFill>
                    <a:schemeClr val="bg1"/>
                  </a:solidFill>
                  <a:latin typeface="微软雅黑" panose="020B0503020204020204" pitchFamily="34" charset="-122"/>
                  <a:ea typeface="微软雅黑" panose="020B0503020204020204" pitchFamily="34" charset="-122"/>
                </a:endParaRPr>
              </a:p>
            </p:txBody>
          </p:sp>
          <p:sp>
            <p:nvSpPr>
              <p:cNvPr id="73" name="Text Placeholder 9">
                <a:extLst>
                  <a:ext uri="{FF2B5EF4-FFF2-40B4-BE49-F238E27FC236}">
                    <a16:creationId xmlns:a16="http://schemas.microsoft.com/office/drawing/2014/main" id="{D9A31301-5DED-455E-9380-4581E756B5BE}"/>
                  </a:ext>
                </a:extLst>
              </p:cNvPr>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400" dirty="0">
                    <a:solidFill>
                      <a:schemeClr val="accent1"/>
                    </a:solidFill>
                    <a:latin typeface="微软雅黑" panose="020B0503020204020204" pitchFamily="34" charset="-122"/>
                    <a:ea typeface="微软雅黑" panose="020B0503020204020204" pitchFamily="34" charset="-122"/>
                  </a:rPr>
                  <a:t>单击此处添加副标题</a:t>
                </a:r>
                <a:endParaRPr lang="en-US" altLang="zh-CN" sz="1400" dirty="0">
                  <a:solidFill>
                    <a:schemeClr val="accent1"/>
                  </a:solidFill>
                  <a:latin typeface="微软雅黑" panose="020B0503020204020204" pitchFamily="34" charset="-122"/>
                  <a:ea typeface="微软雅黑" panose="020B0503020204020204" pitchFamily="34" charset="-122"/>
                </a:endParaRPr>
              </a:p>
            </p:txBody>
          </p:sp>
          <p:cxnSp>
            <p:nvCxnSpPr>
              <p:cNvPr id="74" name="Straight Connector 12">
                <a:extLst>
                  <a:ext uri="{FF2B5EF4-FFF2-40B4-BE49-F238E27FC236}">
                    <a16:creationId xmlns:a16="http://schemas.microsoft.com/office/drawing/2014/main" id="{A33B32CD-1958-4E95-8D9F-1DC789AB1A76}"/>
                  </a:ext>
                </a:extLst>
              </p:cNvPr>
              <p:cNvCxnSpPr>
                <a:cxnSpLocks/>
              </p:cNvCxnSpPr>
              <p:nvPr/>
            </p:nvCxnSpPr>
            <p:spPr>
              <a:xfrm>
                <a:off x="8442303" y="551452"/>
                <a:ext cx="0" cy="45312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71" name="图片 70">
              <a:extLst>
                <a:ext uri="{FF2B5EF4-FFF2-40B4-BE49-F238E27FC236}">
                  <a16:creationId xmlns:a16="http://schemas.microsoft.com/office/drawing/2014/main" id="{18720077-3048-41CE-89C6-E467B42583F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16416" y="427389"/>
              <a:ext cx="457811" cy="457200"/>
            </a:xfrm>
            <a:prstGeom prst="rect">
              <a:avLst/>
            </a:prstGeom>
          </p:spPr>
        </p:pic>
      </p:grpSp>
      <p:grpSp>
        <p:nvGrpSpPr>
          <p:cNvPr id="75" name="组合 74">
            <a:extLst>
              <a:ext uri="{FF2B5EF4-FFF2-40B4-BE49-F238E27FC236}">
                <a16:creationId xmlns:a16="http://schemas.microsoft.com/office/drawing/2014/main" id="{56668FBD-52A8-4FA8-9C96-D0D8E457866B}"/>
              </a:ext>
            </a:extLst>
          </p:cNvPr>
          <p:cNvGrpSpPr/>
          <p:nvPr/>
        </p:nvGrpSpPr>
        <p:grpSpPr>
          <a:xfrm>
            <a:off x="-68583" y="3173016"/>
            <a:ext cx="1961213" cy="1744409"/>
            <a:chOff x="-68583" y="3173016"/>
            <a:chExt cx="1961213" cy="1744409"/>
          </a:xfrm>
        </p:grpSpPr>
        <p:pic>
          <p:nvPicPr>
            <p:cNvPr id="76" name="图片 75">
              <a:extLst>
                <a:ext uri="{FF2B5EF4-FFF2-40B4-BE49-F238E27FC236}">
                  <a16:creationId xmlns:a16="http://schemas.microsoft.com/office/drawing/2014/main" id="{576DB342-67C3-45E8-B29A-FC7549916D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9827389">
              <a:off x="-68583" y="3173016"/>
              <a:ext cx="1659888" cy="1659888"/>
            </a:xfrm>
            <a:prstGeom prst="rect">
              <a:avLst/>
            </a:prstGeom>
          </p:spPr>
        </p:pic>
        <p:pic>
          <p:nvPicPr>
            <p:cNvPr id="77" name="图片 76">
              <a:extLst>
                <a:ext uri="{FF2B5EF4-FFF2-40B4-BE49-F238E27FC236}">
                  <a16:creationId xmlns:a16="http://schemas.microsoft.com/office/drawing/2014/main" id="{64476D4C-85BA-4131-9904-AC68B47915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1149" y="4227934"/>
              <a:ext cx="1541481" cy="689491"/>
            </a:xfrm>
            <a:prstGeom prst="rect">
              <a:avLst/>
            </a:prstGeom>
          </p:spPr>
        </p:pic>
      </p:grpSp>
    </p:spTree>
    <p:extLst>
      <p:ext uri="{BB962C8B-B14F-4D97-AF65-F5344CB8AC3E}">
        <p14:creationId xmlns:p14="http://schemas.microsoft.com/office/powerpoint/2010/main" val="232091660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22" presetClass="entr" presetSubtype="1" fill="hold" nodeType="withEffect">
                                  <p:stCondLst>
                                    <p:cond delay="400"/>
                                  </p:stCondLst>
                                  <p:childTnLst>
                                    <p:set>
                                      <p:cBhvr>
                                        <p:cTn id="11" dur="1" fill="hold">
                                          <p:stCondLst>
                                            <p:cond delay="0"/>
                                          </p:stCondLst>
                                        </p:cTn>
                                        <p:tgtEl>
                                          <p:spTgt spid="60"/>
                                        </p:tgtEl>
                                        <p:attrNameLst>
                                          <p:attrName>style.visibility</p:attrName>
                                        </p:attrNameLst>
                                      </p:cBhvr>
                                      <p:to>
                                        <p:strVal val="visible"/>
                                      </p:to>
                                    </p:set>
                                    <p:animEffect transition="in" filter="wipe(up)">
                                      <p:cBhvr>
                                        <p:cTn id="12" dur="500"/>
                                        <p:tgtEl>
                                          <p:spTgt spid="60"/>
                                        </p:tgtEl>
                                      </p:cBhvr>
                                    </p:animEffect>
                                  </p:childTnLst>
                                </p:cTn>
                              </p:par>
                            </p:childTnLst>
                          </p:cTn>
                        </p:par>
                        <p:par>
                          <p:cTn id="13" fill="hold">
                            <p:stCondLst>
                              <p:cond delay="900"/>
                            </p:stCondLst>
                            <p:childTnLst>
                              <p:par>
                                <p:cTn id="14" presetID="22" presetClass="entr" presetSubtype="8"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wipe(left)">
                                      <p:cBhvr>
                                        <p:cTn id="16" dur="500"/>
                                        <p:tgtEl>
                                          <p:spTgt spid="48"/>
                                        </p:tgtEl>
                                      </p:cBhvr>
                                    </p:animEffect>
                                  </p:childTnLst>
                                </p:cTn>
                              </p:par>
                              <p:par>
                                <p:cTn id="17" presetID="10" presetClass="entr" presetSubtype="0" fill="hold" nodeType="withEffect">
                                  <p:stCondLst>
                                    <p:cond delay="75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750"/>
                                        <p:tgtEl>
                                          <p:spTgt spid="49"/>
                                        </p:tgtEl>
                                      </p:cBhvr>
                                    </p:animEffect>
                                  </p:childTnLst>
                                </p:cTn>
                              </p:par>
                              <p:par>
                                <p:cTn id="20" presetID="63" presetClass="path" presetSubtype="0" decel="100000" fill="hold" nodeType="withEffect">
                                  <p:stCondLst>
                                    <p:cond delay="750"/>
                                  </p:stCondLst>
                                  <p:childTnLst>
                                    <p:animMotion origin="layout" path="M -0.02412 1.91103E-6 L -2.91805E-6 1.91103E-6 " pathEditMode="relative" rAng="0" ptsTypes="AA">
                                      <p:cBhvr>
                                        <p:cTn id="21" dur="500" fill="hold"/>
                                        <p:tgtEl>
                                          <p:spTgt spid="49"/>
                                        </p:tgtEl>
                                        <p:attrNameLst>
                                          <p:attrName>ppt_x</p:attrName>
                                          <p:attrName>ppt_y</p:attrName>
                                        </p:attrNameLst>
                                      </p:cBhvr>
                                      <p:rCtr x="1200" y="0"/>
                                    </p:animMotion>
                                  </p:childTnLst>
                                </p:cTn>
                              </p:par>
                              <p:par>
                                <p:cTn id="22" presetID="6" presetClass="emph" presetSubtype="0" accel="100000" autoRev="1" fill="hold" nodeType="withEffect">
                                  <p:stCondLst>
                                    <p:cond delay="250"/>
                                  </p:stCondLst>
                                  <p:childTnLst>
                                    <p:animScale>
                                      <p:cBhvr>
                                        <p:cTn id="23" dur="500" fill="hold"/>
                                        <p:tgtEl>
                                          <p:spTgt spid="49"/>
                                        </p:tgtEl>
                                      </p:cBhvr>
                                      <p:by x="92000" y="92000"/>
                                    </p:animScale>
                                  </p:childTnLst>
                                </p:cTn>
                              </p:par>
                              <p:par>
                                <p:cTn id="24" presetID="10" presetClass="entr" presetSubtype="0" fill="hold" grpId="0" nodeType="withEffect">
                                  <p:stCondLst>
                                    <p:cond delay="55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750"/>
                                        <p:tgtEl>
                                          <p:spTgt spid="23"/>
                                        </p:tgtEl>
                                      </p:cBhvr>
                                    </p:animEffect>
                                  </p:childTnLst>
                                </p:cTn>
                              </p:par>
                              <p:par>
                                <p:cTn id="27" presetID="63" presetClass="path" presetSubtype="0" decel="100000" fill="hold" grpId="1" nodeType="withEffect">
                                  <p:stCondLst>
                                    <p:cond delay="600"/>
                                  </p:stCondLst>
                                  <p:childTnLst>
                                    <p:animMotion origin="layout" path="M -0.02413 1.91103E-6 L 7.50574E-7 1.91103E-6 " pathEditMode="relative" rAng="0" ptsTypes="AA">
                                      <p:cBhvr>
                                        <p:cTn id="28" dur="500" fill="hold"/>
                                        <p:tgtEl>
                                          <p:spTgt spid="23"/>
                                        </p:tgtEl>
                                        <p:attrNameLst>
                                          <p:attrName>ppt_x</p:attrName>
                                          <p:attrName>ppt_y</p:attrName>
                                        </p:attrNameLst>
                                      </p:cBhvr>
                                      <p:rCtr x="1200" y="0"/>
                                    </p:animMotion>
                                  </p:childTnLst>
                                </p:cTn>
                              </p:par>
                              <p:par>
                                <p:cTn id="29" presetID="6" presetClass="emph" presetSubtype="0" accel="100000" autoRev="1" fill="hold" grpId="2" nodeType="withEffect">
                                  <p:stCondLst>
                                    <p:cond delay="50"/>
                                  </p:stCondLst>
                                  <p:childTnLst>
                                    <p:animScale>
                                      <p:cBhvr>
                                        <p:cTn id="30" dur="500" fill="hold"/>
                                        <p:tgtEl>
                                          <p:spTgt spid="23"/>
                                        </p:tgtEl>
                                      </p:cBhvr>
                                      <p:by x="92000" y="92000"/>
                                    </p:animScale>
                                  </p:childTnLst>
                                </p:cTn>
                              </p:par>
                              <p:par>
                                <p:cTn id="31" presetID="10" presetClass="entr" presetSubtype="0" fill="hold" nodeType="withEffect">
                                  <p:stCondLst>
                                    <p:cond delay="75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750"/>
                                        <p:tgtEl>
                                          <p:spTgt spid="26"/>
                                        </p:tgtEl>
                                      </p:cBhvr>
                                    </p:animEffect>
                                  </p:childTnLst>
                                </p:cTn>
                              </p:par>
                              <p:par>
                                <p:cTn id="34" presetID="63" presetClass="path" presetSubtype="0" decel="100000" fill="hold" nodeType="withEffect">
                                  <p:stCondLst>
                                    <p:cond delay="750"/>
                                  </p:stCondLst>
                                  <p:childTnLst>
                                    <p:animMotion origin="layout" path="M -0.02412 1.91103E-6 L -2.15216E-6 1.91103E-6 " pathEditMode="relative" rAng="0" ptsTypes="AA">
                                      <p:cBhvr>
                                        <p:cTn id="35" dur="500" fill="hold"/>
                                        <p:tgtEl>
                                          <p:spTgt spid="26"/>
                                        </p:tgtEl>
                                        <p:attrNameLst>
                                          <p:attrName>ppt_x</p:attrName>
                                          <p:attrName>ppt_y</p:attrName>
                                        </p:attrNameLst>
                                      </p:cBhvr>
                                      <p:rCtr x="1200" y="0"/>
                                    </p:animMotion>
                                  </p:childTnLst>
                                </p:cTn>
                              </p:par>
                              <p:par>
                                <p:cTn id="36" presetID="6" presetClass="emph" presetSubtype="0" accel="100000" autoRev="1" fill="hold" nodeType="withEffect">
                                  <p:stCondLst>
                                    <p:cond delay="250"/>
                                  </p:stCondLst>
                                  <p:childTnLst>
                                    <p:animScale>
                                      <p:cBhvr>
                                        <p:cTn id="37" dur="500" fill="hold"/>
                                        <p:tgtEl>
                                          <p:spTgt spid="26"/>
                                        </p:tgtEl>
                                      </p:cBhvr>
                                      <p:by x="92000" y="92000"/>
                                    </p:animScale>
                                  </p:childTnLst>
                                </p:cTn>
                              </p:par>
                              <p:par>
                                <p:cTn id="38" presetID="10" presetClass="entr" presetSubtype="0" fill="hold" grpId="0" nodeType="withEffect">
                                  <p:stCondLst>
                                    <p:cond delay="80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750"/>
                                        <p:tgtEl>
                                          <p:spTgt spid="24"/>
                                        </p:tgtEl>
                                      </p:cBhvr>
                                    </p:animEffect>
                                  </p:childTnLst>
                                </p:cTn>
                              </p:par>
                              <p:par>
                                <p:cTn id="41" presetID="63" presetClass="path" presetSubtype="0" decel="100000" fill="hold" grpId="1" nodeType="withEffect">
                                  <p:stCondLst>
                                    <p:cond delay="800"/>
                                  </p:stCondLst>
                                  <p:childTnLst>
                                    <p:animMotion origin="layout" path="M -0.02412 1.91103E-6 L -3.32653E-6 1.91103E-6 " pathEditMode="relative" rAng="0" ptsTypes="AA">
                                      <p:cBhvr>
                                        <p:cTn id="42" dur="500" fill="hold"/>
                                        <p:tgtEl>
                                          <p:spTgt spid="24"/>
                                        </p:tgtEl>
                                        <p:attrNameLst>
                                          <p:attrName>ppt_x</p:attrName>
                                          <p:attrName>ppt_y</p:attrName>
                                        </p:attrNameLst>
                                      </p:cBhvr>
                                      <p:rCtr x="1200" y="0"/>
                                    </p:animMotion>
                                  </p:childTnLst>
                                </p:cTn>
                              </p:par>
                              <p:par>
                                <p:cTn id="43" presetID="6" presetClass="emph" presetSubtype="0" accel="100000" autoRev="1" fill="hold" grpId="2" nodeType="withEffect">
                                  <p:stCondLst>
                                    <p:cond delay="300"/>
                                  </p:stCondLst>
                                  <p:childTnLst>
                                    <p:animScale>
                                      <p:cBhvr>
                                        <p:cTn id="44" dur="500" fill="hold"/>
                                        <p:tgtEl>
                                          <p:spTgt spid="24"/>
                                        </p:tgtEl>
                                      </p:cBhvr>
                                      <p:by x="92000" y="92000"/>
                                    </p:animScale>
                                  </p:childTnLst>
                                </p:cTn>
                              </p:par>
                              <p:par>
                                <p:cTn id="45" presetID="10" presetClass="entr" presetSubtype="0" fill="hold" nodeType="withEffect">
                                  <p:stCondLst>
                                    <p:cond delay="8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750"/>
                                        <p:tgtEl>
                                          <p:spTgt spid="37"/>
                                        </p:tgtEl>
                                      </p:cBhvr>
                                    </p:animEffect>
                                  </p:childTnLst>
                                </p:cTn>
                              </p:par>
                              <p:par>
                                <p:cTn id="48" presetID="63" presetClass="path" presetSubtype="0" decel="100000" fill="hold" nodeType="withEffect">
                                  <p:stCondLst>
                                    <p:cond delay="800"/>
                                  </p:stCondLst>
                                  <p:childTnLst>
                                    <p:animMotion origin="layout" path="M -0.02412 -2.38765E-6 L -2.15216E-6 -2.38765E-6 " pathEditMode="relative" rAng="0" ptsTypes="AA">
                                      <p:cBhvr>
                                        <p:cTn id="49" dur="500" fill="hold"/>
                                        <p:tgtEl>
                                          <p:spTgt spid="37"/>
                                        </p:tgtEl>
                                        <p:attrNameLst>
                                          <p:attrName>ppt_x</p:attrName>
                                          <p:attrName>ppt_y</p:attrName>
                                        </p:attrNameLst>
                                      </p:cBhvr>
                                      <p:rCtr x="1200" y="0"/>
                                    </p:animMotion>
                                  </p:childTnLst>
                                </p:cTn>
                              </p:par>
                              <p:par>
                                <p:cTn id="50" presetID="6" presetClass="emph" presetSubtype="0" accel="100000" autoRev="1" fill="hold" nodeType="withEffect">
                                  <p:stCondLst>
                                    <p:cond delay="300"/>
                                  </p:stCondLst>
                                  <p:childTnLst>
                                    <p:animScale>
                                      <p:cBhvr>
                                        <p:cTn id="51" dur="500" fill="hold"/>
                                        <p:tgtEl>
                                          <p:spTgt spid="37"/>
                                        </p:tgtEl>
                                      </p:cBhvr>
                                      <p:by x="92000" y="92000"/>
                                    </p:animScale>
                                  </p:childTnLst>
                                </p:cTn>
                              </p:par>
                              <p:par>
                                <p:cTn id="52" presetID="10" presetClass="entr" presetSubtype="0" fill="hold" grpId="0" nodeType="withEffect">
                                  <p:stCondLst>
                                    <p:cond delay="900"/>
                                  </p:stCondLst>
                                  <p:childTnLst>
                                    <p:set>
                                      <p:cBhvr>
                                        <p:cTn id="53" dur="1" fill="hold">
                                          <p:stCondLst>
                                            <p:cond delay="0"/>
                                          </p:stCondLst>
                                        </p:cTn>
                                        <p:tgtEl>
                                          <p:spTgt spid="25"/>
                                        </p:tgtEl>
                                        <p:attrNameLst>
                                          <p:attrName>style.visibility</p:attrName>
                                        </p:attrNameLst>
                                      </p:cBhvr>
                                      <p:to>
                                        <p:strVal val="visible"/>
                                      </p:to>
                                    </p:set>
                                    <p:animEffect transition="in" filter="fade">
                                      <p:cBhvr>
                                        <p:cTn id="54" dur="750"/>
                                        <p:tgtEl>
                                          <p:spTgt spid="25"/>
                                        </p:tgtEl>
                                      </p:cBhvr>
                                    </p:animEffect>
                                  </p:childTnLst>
                                </p:cTn>
                              </p:par>
                              <p:par>
                                <p:cTn id="55" presetID="63" presetClass="path" presetSubtype="0" decel="100000" fill="hold" grpId="1" nodeType="withEffect">
                                  <p:stCondLst>
                                    <p:cond delay="900"/>
                                  </p:stCondLst>
                                  <p:childTnLst>
                                    <p:animMotion origin="layout" path="M -0.02412 6.49115E-7 L -7.50574E-7 6.49115E-7 " pathEditMode="relative" rAng="0" ptsTypes="AA">
                                      <p:cBhvr>
                                        <p:cTn id="56" dur="500" fill="hold"/>
                                        <p:tgtEl>
                                          <p:spTgt spid="25"/>
                                        </p:tgtEl>
                                        <p:attrNameLst>
                                          <p:attrName>ppt_x</p:attrName>
                                          <p:attrName>ppt_y</p:attrName>
                                        </p:attrNameLst>
                                      </p:cBhvr>
                                      <p:rCtr x="1200" y="0"/>
                                    </p:animMotion>
                                  </p:childTnLst>
                                </p:cTn>
                              </p:par>
                              <p:par>
                                <p:cTn id="57" presetID="6" presetClass="emph" presetSubtype="0" accel="100000" autoRev="1" fill="hold" grpId="2" nodeType="withEffect">
                                  <p:stCondLst>
                                    <p:cond delay="400"/>
                                  </p:stCondLst>
                                  <p:childTnLst>
                                    <p:animScale>
                                      <p:cBhvr>
                                        <p:cTn id="58" dur="500" fill="hold"/>
                                        <p:tgtEl>
                                          <p:spTgt spid="25"/>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23" grpId="2"/>
      <p:bldP spid="24" grpId="0"/>
      <p:bldP spid="24" grpId="1"/>
      <p:bldP spid="24" grpId="2"/>
      <p:bldP spid="25" grpId="0"/>
      <p:bldP spid="25" grpId="1"/>
      <p:bldP spid="25" grpId="2"/>
      <p:bldP spid="4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id="{2C1061F1-14C4-4046-9847-04E38F5B036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21931">
            <a:off x="4654771" y="716021"/>
            <a:ext cx="1856564" cy="1856564"/>
          </a:xfrm>
          <a:prstGeom prst="rect">
            <a:avLst/>
          </a:prstGeom>
        </p:spPr>
      </p:pic>
      <p:pic>
        <p:nvPicPr>
          <p:cNvPr id="10" name="图片 9">
            <a:extLst>
              <a:ext uri="{FF2B5EF4-FFF2-40B4-BE49-F238E27FC236}">
                <a16:creationId xmlns:a16="http://schemas.microsoft.com/office/drawing/2014/main" id="{413F2EC5-667A-4ADA-B046-3F6681984B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513651" y="87371"/>
            <a:ext cx="1922208" cy="2061520"/>
          </a:xfrm>
          <a:prstGeom prst="rect">
            <a:avLst/>
          </a:prstGeom>
        </p:spPr>
      </p:pic>
      <p:sp>
        <p:nvSpPr>
          <p:cNvPr id="5" name="文本框 4"/>
          <p:cNvSpPr txBox="1"/>
          <p:nvPr/>
        </p:nvSpPr>
        <p:spPr>
          <a:xfrm>
            <a:off x="3748696" y="871540"/>
            <a:ext cx="1646605" cy="1569660"/>
          </a:xfrm>
          <a:prstGeom prst="rect">
            <a:avLst/>
          </a:prstGeom>
          <a:noFill/>
        </p:spPr>
        <p:txBody>
          <a:bodyPr wrap="none" rtlCol="0">
            <a:spAutoFit/>
          </a:bodyPr>
          <a:lstStyle/>
          <a:p>
            <a:r>
              <a:rPr lang="en-US" altLang="zh-CN" sz="9600" dirty="0">
                <a:solidFill>
                  <a:srgbClr val="769B37"/>
                </a:solidFill>
                <a:latin typeface="Arial Rounded MT Bold" panose="020F0704030504030204" pitchFamily="34" charset="0"/>
                <a:ea typeface="Ohka" panose="02000609000000000000" pitchFamily="49" charset="-128"/>
                <a:cs typeface="Aharoni" panose="02010803020104030203" pitchFamily="2" charset="-79"/>
              </a:rPr>
              <a:t>02</a:t>
            </a:r>
            <a:endParaRPr lang="zh-CN" altLang="en-US" sz="9600" dirty="0">
              <a:solidFill>
                <a:srgbClr val="769B37"/>
              </a:solidFill>
              <a:latin typeface="Arial Rounded MT Bold" panose="020F0704030504030204" pitchFamily="34" charset="0"/>
              <a:ea typeface="Ohka" panose="02000609000000000000" pitchFamily="49" charset="-128"/>
              <a:cs typeface="Aharoni" panose="02010803020104030203" pitchFamily="2" charset="-79"/>
            </a:endParaRPr>
          </a:p>
        </p:txBody>
      </p:sp>
      <p:sp>
        <p:nvSpPr>
          <p:cNvPr id="8" name="文本框 7">
            <a:extLst>
              <a:ext uri="{FF2B5EF4-FFF2-40B4-BE49-F238E27FC236}">
                <a16:creationId xmlns:a16="http://schemas.microsoft.com/office/drawing/2014/main" id="{4D49E2FC-20EC-432F-A467-2AF6DACB3C81}"/>
              </a:ext>
            </a:extLst>
          </p:cNvPr>
          <p:cNvSpPr txBox="1"/>
          <p:nvPr/>
        </p:nvSpPr>
        <p:spPr>
          <a:xfrm>
            <a:off x="3811633" y="2254033"/>
            <a:ext cx="1826141" cy="523220"/>
          </a:xfrm>
          <a:prstGeom prst="rect">
            <a:avLst/>
          </a:prstGeom>
          <a:noFill/>
        </p:spPr>
        <p:txBody>
          <a:bodyPr wrap="square" rtlCol="0">
            <a:spAutoFit/>
          </a:bodyPr>
          <a:lstStyle/>
          <a:p>
            <a:r>
              <a:rPr lang="zh-CN" altLang="en-US" sz="2800" dirty="0">
                <a:latin typeface="微软雅黑" panose="020B0503020204020204" pitchFamily="34" charset="-122"/>
                <a:ea typeface="微软雅黑" panose="020B0503020204020204" pitchFamily="34" charset="-122"/>
              </a:rPr>
              <a:t>第二部分</a:t>
            </a:r>
          </a:p>
        </p:txBody>
      </p:sp>
      <p:pic>
        <p:nvPicPr>
          <p:cNvPr id="7" name="图片 6">
            <a:extLst>
              <a:ext uri="{FF2B5EF4-FFF2-40B4-BE49-F238E27FC236}">
                <a16:creationId xmlns:a16="http://schemas.microsoft.com/office/drawing/2014/main" id="{BE6B310B-6A7E-49F2-BFB5-7ABD0B036B3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14974" y="3823693"/>
            <a:ext cx="2714052" cy="922290"/>
          </a:xfrm>
          <a:prstGeom prst="rect">
            <a:avLst/>
          </a:prstGeom>
        </p:spPr>
      </p:pic>
    </p:spTree>
    <p:extLst>
      <p:ext uri="{BB962C8B-B14F-4D97-AF65-F5344CB8AC3E}">
        <p14:creationId xmlns:p14="http://schemas.microsoft.com/office/powerpoint/2010/main" val="3661834175"/>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611188" y="803187"/>
            <a:ext cx="7535050" cy="4114237"/>
            <a:chOff x="611188" y="803187"/>
            <a:chExt cx="7535050" cy="4114237"/>
          </a:xfrm>
        </p:grpSpPr>
        <p:sp>
          <p:nvSpPr>
            <p:cNvPr id="9" name="Freeform 138"/>
            <p:cNvSpPr>
              <a:spLocks/>
            </p:cNvSpPr>
            <p:nvPr/>
          </p:nvSpPr>
          <p:spPr bwMode="auto">
            <a:xfrm>
              <a:off x="4419041" y="803187"/>
              <a:ext cx="229490" cy="883605"/>
            </a:xfrm>
            <a:custGeom>
              <a:avLst/>
              <a:gdLst>
                <a:gd name="T0" fmla="*/ 161 w 161"/>
                <a:gd name="T1" fmla="*/ 438 h 619"/>
                <a:gd name="T2" fmla="*/ 161 w 161"/>
                <a:gd name="T3" fmla="*/ 51 h 619"/>
                <a:gd name="T4" fmla="*/ 110 w 161"/>
                <a:gd name="T5" fmla="*/ 0 h 619"/>
                <a:gd name="T6" fmla="*/ 51 w 161"/>
                <a:gd name="T7" fmla="*/ 0 h 619"/>
                <a:gd name="T8" fmla="*/ 0 w 161"/>
                <a:gd name="T9" fmla="*/ 51 h 619"/>
                <a:gd name="T10" fmla="*/ 0 w 161"/>
                <a:gd name="T11" fmla="*/ 619 h 619"/>
                <a:gd name="T12" fmla="*/ 161 w 161"/>
                <a:gd name="T13" fmla="*/ 438 h 619"/>
              </a:gdLst>
              <a:ahLst/>
              <a:cxnLst>
                <a:cxn ang="0">
                  <a:pos x="T0" y="T1"/>
                </a:cxn>
                <a:cxn ang="0">
                  <a:pos x="T2" y="T3"/>
                </a:cxn>
                <a:cxn ang="0">
                  <a:pos x="T4" y="T5"/>
                </a:cxn>
                <a:cxn ang="0">
                  <a:pos x="T6" y="T7"/>
                </a:cxn>
                <a:cxn ang="0">
                  <a:pos x="T8" y="T9"/>
                </a:cxn>
                <a:cxn ang="0">
                  <a:pos x="T10" y="T11"/>
                </a:cxn>
                <a:cxn ang="0">
                  <a:pos x="T12" y="T13"/>
                </a:cxn>
              </a:cxnLst>
              <a:rect l="0" t="0" r="r" b="b"/>
              <a:pathLst>
                <a:path w="161" h="619">
                  <a:moveTo>
                    <a:pt x="161" y="438"/>
                  </a:moveTo>
                  <a:cubicBezTo>
                    <a:pt x="161" y="51"/>
                    <a:pt x="161" y="51"/>
                    <a:pt x="161" y="51"/>
                  </a:cubicBezTo>
                  <a:cubicBezTo>
                    <a:pt x="161" y="23"/>
                    <a:pt x="138" y="0"/>
                    <a:pt x="110" y="0"/>
                  </a:cubicBezTo>
                  <a:cubicBezTo>
                    <a:pt x="51" y="0"/>
                    <a:pt x="51" y="0"/>
                    <a:pt x="51" y="0"/>
                  </a:cubicBezTo>
                  <a:cubicBezTo>
                    <a:pt x="23" y="0"/>
                    <a:pt x="0" y="23"/>
                    <a:pt x="0" y="51"/>
                  </a:cubicBezTo>
                  <a:cubicBezTo>
                    <a:pt x="0" y="619"/>
                    <a:pt x="0" y="619"/>
                    <a:pt x="0" y="619"/>
                  </a:cubicBezTo>
                  <a:cubicBezTo>
                    <a:pt x="9" y="561"/>
                    <a:pt x="53" y="461"/>
                    <a:pt x="161" y="438"/>
                  </a:cubicBezTo>
                  <a:close/>
                </a:path>
              </a:pathLst>
            </a:custGeom>
            <a:solidFill>
              <a:schemeClr val="bg1"/>
            </a:solidFill>
            <a:ln>
              <a:noFill/>
            </a:ln>
          </p:spPr>
          <p:txBody>
            <a:bodyPr/>
            <a:lstStyle/>
            <a:p>
              <a:endParaRPr lang="zh-CN" altLang="en-US" sz="1600">
                <a:solidFill>
                  <a:srgbClr val="080808"/>
                </a:solidFill>
              </a:endParaRPr>
            </a:p>
          </p:txBody>
        </p:sp>
        <p:sp>
          <p:nvSpPr>
            <p:cNvPr id="10" name="Freeform 140"/>
            <p:cNvSpPr>
              <a:spLocks/>
            </p:cNvSpPr>
            <p:nvPr/>
          </p:nvSpPr>
          <p:spPr bwMode="auto">
            <a:xfrm>
              <a:off x="4419041" y="3514467"/>
              <a:ext cx="1500618" cy="1402957"/>
            </a:xfrm>
            <a:custGeom>
              <a:avLst/>
              <a:gdLst>
                <a:gd name="T0" fmla="*/ 1004 w 1051"/>
                <a:gd name="T1" fmla="*/ 0 h 869"/>
                <a:gd name="T2" fmla="*/ 218 w 1051"/>
                <a:gd name="T3" fmla="*/ 0 h 869"/>
                <a:gd name="T4" fmla="*/ 161 w 1051"/>
                <a:gd name="T5" fmla="*/ 5 h 869"/>
                <a:gd name="T6" fmla="*/ 0 w 1051"/>
                <a:gd name="T7" fmla="*/ 186 h 869"/>
                <a:gd name="T8" fmla="*/ 0 w 1051"/>
                <a:gd name="T9" fmla="*/ 201 h 869"/>
                <a:gd name="T10" fmla="*/ 0 w 1051"/>
                <a:gd name="T11" fmla="*/ 818 h 869"/>
                <a:gd name="T12" fmla="*/ 51 w 1051"/>
                <a:gd name="T13" fmla="*/ 869 h 869"/>
                <a:gd name="T14" fmla="*/ 110 w 1051"/>
                <a:gd name="T15" fmla="*/ 869 h 869"/>
                <a:gd name="T16" fmla="*/ 161 w 1051"/>
                <a:gd name="T17" fmla="*/ 818 h 869"/>
                <a:gd name="T18" fmla="*/ 161 w 1051"/>
                <a:gd name="T19" fmla="*/ 101 h 869"/>
                <a:gd name="T20" fmla="*/ 214 w 1051"/>
                <a:gd name="T21" fmla="*/ 92 h 869"/>
                <a:gd name="T22" fmla="*/ 1005 w 1051"/>
                <a:gd name="T23" fmla="*/ 92 h 869"/>
                <a:gd name="T24" fmla="*/ 1051 w 1051"/>
                <a:gd name="T25" fmla="*/ 46 h 869"/>
                <a:gd name="T26" fmla="*/ 1004 w 1051"/>
                <a:gd name="T27"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1" h="869">
                  <a:moveTo>
                    <a:pt x="1004" y="0"/>
                  </a:moveTo>
                  <a:cubicBezTo>
                    <a:pt x="998" y="1"/>
                    <a:pt x="364" y="6"/>
                    <a:pt x="218" y="0"/>
                  </a:cubicBezTo>
                  <a:cubicBezTo>
                    <a:pt x="197" y="0"/>
                    <a:pt x="178" y="2"/>
                    <a:pt x="161" y="5"/>
                  </a:cubicBezTo>
                  <a:cubicBezTo>
                    <a:pt x="53" y="28"/>
                    <a:pt x="9" y="127"/>
                    <a:pt x="0" y="186"/>
                  </a:cubicBezTo>
                  <a:cubicBezTo>
                    <a:pt x="0" y="201"/>
                    <a:pt x="0" y="201"/>
                    <a:pt x="0" y="201"/>
                  </a:cubicBezTo>
                  <a:cubicBezTo>
                    <a:pt x="0" y="818"/>
                    <a:pt x="0" y="818"/>
                    <a:pt x="0" y="818"/>
                  </a:cubicBezTo>
                  <a:cubicBezTo>
                    <a:pt x="0" y="846"/>
                    <a:pt x="23" y="869"/>
                    <a:pt x="51" y="869"/>
                  </a:cubicBezTo>
                  <a:cubicBezTo>
                    <a:pt x="110" y="869"/>
                    <a:pt x="110" y="869"/>
                    <a:pt x="110" y="869"/>
                  </a:cubicBezTo>
                  <a:cubicBezTo>
                    <a:pt x="138" y="869"/>
                    <a:pt x="161" y="846"/>
                    <a:pt x="161" y="818"/>
                  </a:cubicBezTo>
                  <a:cubicBezTo>
                    <a:pt x="161" y="101"/>
                    <a:pt x="161" y="101"/>
                    <a:pt x="161" y="101"/>
                  </a:cubicBezTo>
                  <a:cubicBezTo>
                    <a:pt x="176" y="95"/>
                    <a:pt x="193" y="92"/>
                    <a:pt x="214" y="92"/>
                  </a:cubicBezTo>
                  <a:cubicBezTo>
                    <a:pt x="363" y="98"/>
                    <a:pt x="979" y="93"/>
                    <a:pt x="1005" y="92"/>
                  </a:cubicBezTo>
                  <a:cubicBezTo>
                    <a:pt x="1030" y="92"/>
                    <a:pt x="1051" y="71"/>
                    <a:pt x="1051" y="46"/>
                  </a:cubicBezTo>
                  <a:cubicBezTo>
                    <a:pt x="1050" y="21"/>
                    <a:pt x="1030" y="1"/>
                    <a:pt x="1004" y="0"/>
                  </a:cubicBezTo>
                  <a:close/>
                </a:path>
              </a:pathLst>
            </a:custGeom>
            <a:solidFill>
              <a:schemeClr val="tx2"/>
            </a:solidFill>
            <a:ln>
              <a:noFill/>
            </a:ln>
          </p:spPr>
          <p:txBody>
            <a:bodyPr/>
            <a:lstStyle/>
            <a:p>
              <a:endParaRPr lang="zh-CN" altLang="en-US" sz="1600">
                <a:solidFill>
                  <a:srgbClr val="080808"/>
                </a:solidFill>
              </a:endParaRPr>
            </a:p>
          </p:txBody>
        </p:sp>
        <p:sp>
          <p:nvSpPr>
            <p:cNvPr id="11" name="Freeform 141"/>
            <p:cNvSpPr>
              <a:spLocks/>
            </p:cNvSpPr>
            <p:nvPr/>
          </p:nvSpPr>
          <p:spPr bwMode="auto">
            <a:xfrm>
              <a:off x="4502867" y="2839739"/>
              <a:ext cx="1374" cy="20613"/>
            </a:xfrm>
            <a:custGeom>
              <a:avLst/>
              <a:gdLst>
                <a:gd name="T0" fmla="*/ 1 w 1"/>
                <a:gd name="T1" fmla="*/ 2 h 15"/>
                <a:gd name="T2" fmla="*/ 0 w 1"/>
                <a:gd name="T3" fmla="*/ 0 h 15"/>
                <a:gd name="T4" fmla="*/ 0 w 1"/>
                <a:gd name="T5" fmla="*/ 15 h 15"/>
                <a:gd name="T6" fmla="*/ 1 w 1"/>
                <a:gd name="T7" fmla="*/ 2 h 15"/>
              </a:gdLst>
              <a:ahLst/>
              <a:cxnLst>
                <a:cxn ang="0">
                  <a:pos x="T0" y="T1"/>
                </a:cxn>
                <a:cxn ang="0">
                  <a:pos x="T2" y="T3"/>
                </a:cxn>
                <a:cxn ang="0">
                  <a:pos x="T4" y="T5"/>
                </a:cxn>
                <a:cxn ang="0">
                  <a:pos x="T6" y="T7"/>
                </a:cxn>
              </a:cxnLst>
              <a:rect l="0" t="0" r="r" b="b"/>
              <a:pathLst>
                <a:path w="1" h="15">
                  <a:moveTo>
                    <a:pt x="1" y="2"/>
                  </a:moveTo>
                  <a:cubicBezTo>
                    <a:pt x="0" y="1"/>
                    <a:pt x="0" y="0"/>
                    <a:pt x="0" y="0"/>
                  </a:cubicBezTo>
                  <a:cubicBezTo>
                    <a:pt x="0" y="15"/>
                    <a:pt x="0" y="15"/>
                    <a:pt x="0" y="15"/>
                  </a:cubicBezTo>
                  <a:cubicBezTo>
                    <a:pt x="1" y="11"/>
                    <a:pt x="1" y="6"/>
                    <a:pt x="1" y="2"/>
                  </a:cubicBezTo>
                  <a:close/>
                </a:path>
              </a:pathLst>
            </a:custGeom>
            <a:solidFill>
              <a:srgbClr val="FFD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80808"/>
                </a:solidFill>
              </a:endParaRPr>
            </a:p>
          </p:txBody>
        </p:sp>
        <p:sp>
          <p:nvSpPr>
            <p:cNvPr id="12" name="Freeform 142"/>
            <p:cNvSpPr>
              <a:spLocks/>
            </p:cNvSpPr>
            <p:nvPr/>
          </p:nvSpPr>
          <p:spPr bwMode="auto">
            <a:xfrm>
              <a:off x="3149288" y="2529172"/>
              <a:ext cx="1499243" cy="1250515"/>
            </a:xfrm>
            <a:custGeom>
              <a:avLst/>
              <a:gdLst>
                <a:gd name="T0" fmla="*/ 889 w 1050"/>
                <a:gd name="T1" fmla="*/ 6 h 876"/>
                <a:gd name="T2" fmla="*/ 833 w 1050"/>
                <a:gd name="T3" fmla="*/ 1 h 876"/>
                <a:gd name="T4" fmla="*/ 46 w 1050"/>
                <a:gd name="T5" fmla="*/ 1 h 876"/>
                <a:gd name="T6" fmla="*/ 0 w 1050"/>
                <a:gd name="T7" fmla="*/ 47 h 876"/>
                <a:gd name="T8" fmla="*/ 46 w 1050"/>
                <a:gd name="T9" fmla="*/ 93 h 876"/>
                <a:gd name="T10" fmla="*/ 836 w 1050"/>
                <a:gd name="T11" fmla="*/ 93 h 876"/>
                <a:gd name="T12" fmla="*/ 889 w 1050"/>
                <a:gd name="T13" fmla="*/ 102 h 876"/>
                <a:gd name="T14" fmla="*/ 889 w 1050"/>
                <a:gd name="T15" fmla="*/ 876 h 876"/>
                <a:gd name="T16" fmla="*/ 1050 w 1050"/>
                <a:gd name="T17" fmla="*/ 695 h 876"/>
                <a:gd name="T18" fmla="*/ 1050 w 1050"/>
                <a:gd name="T19" fmla="*/ 202 h 876"/>
                <a:gd name="T20" fmla="*/ 1050 w 1050"/>
                <a:gd name="T21" fmla="*/ 186 h 876"/>
                <a:gd name="T22" fmla="*/ 889 w 1050"/>
                <a:gd name="T23" fmla="*/ 6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0" h="876">
                  <a:moveTo>
                    <a:pt x="889" y="6"/>
                  </a:moveTo>
                  <a:cubicBezTo>
                    <a:pt x="872" y="2"/>
                    <a:pt x="853" y="0"/>
                    <a:pt x="833" y="1"/>
                  </a:cubicBezTo>
                  <a:cubicBezTo>
                    <a:pt x="687" y="6"/>
                    <a:pt x="53" y="1"/>
                    <a:pt x="46" y="1"/>
                  </a:cubicBezTo>
                  <a:cubicBezTo>
                    <a:pt x="21" y="1"/>
                    <a:pt x="0" y="21"/>
                    <a:pt x="0" y="47"/>
                  </a:cubicBezTo>
                  <a:cubicBezTo>
                    <a:pt x="0" y="72"/>
                    <a:pt x="20" y="93"/>
                    <a:pt x="46" y="93"/>
                  </a:cubicBezTo>
                  <a:cubicBezTo>
                    <a:pt x="72" y="93"/>
                    <a:pt x="688" y="98"/>
                    <a:pt x="836" y="93"/>
                  </a:cubicBezTo>
                  <a:cubicBezTo>
                    <a:pt x="857" y="92"/>
                    <a:pt x="875" y="96"/>
                    <a:pt x="889" y="102"/>
                  </a:cubicBezTo>
                  <a:cubicBezTo>
                    <a:pt x="889" y="876"/>
                    <a:pt x="889" y="876"/>
                    <a:pt x="889" y="876"/>
                  </a:cubicBezTo>
                  <a:cubicBezTo>
                    <a:pt x="898" y="817"/>
                    <a:pt x="942" y="718"/>
                    <a:pt x="1050" y="695"/>
                  </a:cubicBezTo>
                  <a:cubicBezTo>
                    <a:pt x="1050" y="202"/>
                    <a:pt x="1050" y="202"/>
                    <a:pt x="1050" y="202"/>
                  </a:cubicBezTo>
                  <a:cubicBezTo>
                    <a:pt x="1050" y="186"/>
                    <a:pt x="1050" y="186"/>
                    <a:pt x="1050" y="186"/>
                  </a:cubicBezTo>
                  <a:cubicBezTo>
                    <a:pt x="1041" y="128"/>
                    <a:pt x="997" y="29"/>
                    <a:pt x="889" y="6"/>
                  </a:cubicBezTo>
                  <a:close/>
                </a:path>
              </a:pathLst>
            </a:custGeom>
            <a:solidFill>
              <a:schemeClr val="bg2"/>
            </a:solidFill>
            <a:ln>
              <a:noFill/>
            </a:ln>
          </p:spPr>
          <p:txBody>
            <a:bodyPr/>
            <a:lstStyle/>
            <a:p>
              <a:endParaRPr lang="zh-CN" altLang="en-US" sz="1600">
                <a:solidFill>
                  <a:srgbClr val="080808"/>
                </a:solidFill>
              </a:endParaRPr>
            </a:p>
          </p:txBody>
        </p:sp>
        <p:sp>
          <p:nvSpPr>
            <p:cNvPr id="13" name="Freeform 143"/>
            <p:cNvSpPr>
              <a:spLocks/>
            </p:cNvSpPr>
            <p:nvPr/>
          </p:nvSpPr>
          <p:spPr bwMode="auto">
            <a:xfrm>
              <a:off x="4419041" y="1420199"/>
              <a:ext cx="1500618" cy="1374192"/>
            </a:xfrm>
            <a:custGeom>
              <a:avLst/>
              <a:gdLst>
                <a:gd name="T0" fmla="*/ 1004 w 1051"/>
                <a:gd name="T1" fmla="*/ 1 h 963"/>
                <a:gd name="T2" fmla="*/ 218 w 1051"/>
                <a:gd name="T3" fmla="*/ 1 h 963"/>
                <a:gd name="T4" fmla="*/ 161 w 1051"/>
                <a:gd name="T5" fmla="*/ 6 h 963"/>
                <a:gd name="T6" fmla="*/ 0 w 1051"/>
                <a:gd name="T7" fmla="*/ 187 h 963"/>
                <a:gd name="T8" fmla="*/ 0 w 1051"/>
                <a:gd name="T9" fmla="*/ 201 h 963"/>
                <a:gd name="T10" fmla="*/ 0 w 1051"/>
                <a:gd name="T11" fmla="*/ 783 h 963"/>
                <a:gd name="T12" fmla="*/ 161 w 1051"/>
                <a:gd name="T13" fmla="*/ 963 h 963"/>
                <a:gd name="T14" fmla="*/ 161 w 1051"/>
                <a:gd name="T15" fmla="*/ 102 h 963"/>
                <a:gd name="T16" fmla="*/ 214 w 1051"/>
                <a:gd name="T17" fmla="*/ 93 h 963"/>
                <a:gd name="T18" fmla="*/ 1005 w 1051"/>
                <a:gd name="T19" fmla="*/ 93 h 963"/>
                <a:gd name="T20" fmla="*/ 1051 w 1051"/>
                <a:gd name="T21" fmla="*/ 46 h 963"/>
                <a:gd name="T22" fmla="*/ 1004 w 1051"/>
                <a:gd name="T23" fmla="*/ 1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1" h="963">
                  <a:moveTo>
                    <a:pt x="1004" y="1"/>
                  </a:moveTo>
                  <a:cubicBezTo>
                    <a:pt x="998" y="1"/>
                    <a:pt x="364" y="6"/>
                    <a:pt x="218" y="1"/>
                  </a:cubicBezTo>
                  <a:cubicBezTo>
                    <a:pt x="197" y="0"/>
                    <a:pt x="178" y="2"/>
                    <a:pt x="161" y="6"/>
                  </a:cubicBezTo>
                  <a:cubicBezTo>
                    <a:pt x="53" y="29"/>
                    <a:pt x="9" y="129"/>
                    <a:pt x="0" y="187"/>
                  </a:cubicBezTo>
                  <a:cubicBezTo>
                    <a:pt x="0" y="201"/>
                    <a:pt x="0" y="201"/>
                    <a:pt x="0" y="201"/>
                  </a:cubicBezTo>
                  <a:cubicBezTo>
                    <a:pt x="0" y="783"/>
                    <a:pt x="0" y="783"/>
                    <a:pt x="0" y="783"/>
                  </a:cubicBezTo>
                  <a:cubicBezTo>
                    <a:pt x="108" y="806"/>
                    <a:pt x="152" y="905"/>
                    <a:pt x="161" y="963"/>
                  </a:cubicBezTo>
                  <a:cubicBezTo>
                    <a:pt x="161" y="102"/>
                    <a:pt x="161" y="102"/>
                    <a:pt x="161" y="102"/>
                  </a:cubicBezTo>
                  <a:cubicBezTo>
                    <a:pt x="176" y="96"/>
                    <a:pt x="193" y="92"/>
                    <a:pt x="214" y="93"/>
                  </a:cubicBezTo>
                  <a:cubicBezTo>
                    <a:pt x="363" y="98"/>
                    <a:pt x="979" y="93"/>
                    <a:pt x="1005" y="93"/>
                  </a:cubicBezTo>
                  <a:cubicBezTo>
                    <a:pt x="1031" y="93"/>
                    <a:pt x="1051" y="72"/>
                    <a:pt x="1051" y="46"/>
                  </a:cubicBezTo>
                  <a:cubicBezTo>
                    <a:pt x="1051" y="21"/>
                    <a:pt x="1030" y="1"/>
                    <a:pt x="1004" y="1"/>
                  </a:cubicBezTo>
                  <a:close/>
                </a:path>
              </a:pathLst>
            </a:custGeom>
            <a:solidFill>
              <a:schemeClr val="tx1"/>
            </a:solidFill>
            <a:ln>
              <a:noFill/>
            </a:ln>
          </p:spPr>
          <p:txBody>
            <a:bodyPr/>
            <a:lstStyle/>
            <a:p>
              <a:endParaRPr lang="zh-CN" altLang="en-US" sz="1600">
                <a:solidFill>
                  <a:srgbClr val="080808"/>
                </a:solidFill>
              </a:endParaRPr>
            </a:p>
          </p:txBody>
        </p:sp>
        <p:sp>
          <p:nvSpPr>
            <p:cNvPr id="14" name="TextBox 97"/>
            <p:cNvSpPr txBox="1"/>
            <p:nvPr/>
          </p:nvSpPr>
          <p:spPr bwMode="auto">
            <a:xfrm>
              <a:off x="6164265" y="1215372"/>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8BC925"/>
                  </a:solidFill>
                  <a:latin typeface="微软雅黑" pitchFamily="34" charset="-122"/>
                  <a:ea typeface="微软雅黑" pitchFamily="34" charset="-122"/>
                  <a:cs typeface="Arial" pitchFamily="34" charset="0"/>
                </a:defRPr>
              </a:lvl1pPr>
            </a:lstStyle>
            <a:p>
              <a:pPr algn="l"/>
              <a:r>
                <a:rPr lang="zh-CN" altLang="en-US" dirty="0">
                  <a:solidFill>
                    <a:schemeClr val="tx1"/>
                  </a:solidFill>
                </a:rPr>
                <a:t>添加标题</a:t>
              </a:r>
            </a:p>
          </p:txBody>
        </p:sp>
        <p:sp>
          <p:nvSpPr>
            <p:cNvPr id="15" name="矩形 1"/>
            <p:cNvSpPr>
              <a:spLocks noChangeArrowheads="1"/>
            </p:cNvSpPr>
            <p:nvPr/>
          </p:nvSpPr>
          <p:spPr bwMode="auto">
            <a:xfrm>
              <a:off x="6172276" y="1515441"/>
              <a:ext cx="1973962" cy="526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1000" dirty="0">
                  <a:solidFill>
                    <a:schemeClr val="accent1"/>
                  </a:solidFill>
                  <a:latin typeface="微软雅黑" pitchFamily="34" charset="-122"/>
                  <a:ea typeface="微软雅黑" pitchFamily="34" charset="-122"/>
                  <a:sym typeface="微软雅黑" pitchFamily="34" charset="-122"/>
                </a:rPr>
                <a:t>单击添加文本单击添加文本单击添加文本单击添加文本单击</a:t>
              </a:r>
            </a:p>
          </p:txBody>
        </p:sp>
        <p:sp>
          <p:nvSpPr>
            <p:cNvPr id="16" name="TextBox 99"/>
            <p:cNvSpPr txBox="1"/>
            <p:nvPr/>
          </p:nvSpPr>
          <p:spPr bwMode="auto">
            <a:xfrm>
              <a:off x="1684516" y="224981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EBAC07"/>
                  </a:solidFill>
                  <a:latin typeface="微软雅黑" pitchFamily="34" charset="-122"/>
                  <a:ea typeface="微软雅黑" pitchFamily="34" charset="-122"/>
                  <a:cs typeface="Arial" pitchFamily="34" charset="0"/>
                </a:defRPr>
              </a:lvl1pPr>
            </a:lstStyle>
            <a:p>
              <a:r>
                <a:rPr lang="zh-CN" altLang="en-US" dirty="0">
                  <a:solidFill>
                    <a:schemeClr val="bg2"/>
                  </a:solidFill>
                </a:rPr>
                <a:t>添加标题</a:t>
              </a:r>
            </a:p>
          </p:txBody>
        </p:sp>
        <p:sp>
          <p:nvSpPr>
            <p:cNvPr id="17" name="矩形 1"/>
            <p:cNvSpPr>
              <a:spLocks noChangeArrowheads="1"/>
            </p:cNvSpPr>
            <p:nvPr/>
          </p:nvSpPr>
          <p:spPr bwMode="auto">
            <a:xfrm>
              <a:off x="611188" y="2568189"/>
              <a:ext cx="2222950" cy="526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lnSpc>
                  <a:spcPct val="150000"/>
                </a:lnSpc>
              </a:pPr>
              <a:r>
                <a:rPr lang="zh-CN" altLang="en-US" sz="1000" dirty="0">
                  <a:solidFill>
                    <a:schemeClr val="accent1"/>
                  </a:solidFill>
                  <a:latin typeface="微软雅黑" pitchFamily="34" charset="-122"/>
                  <a:ea typeface="微软雅黑" pitchFamily="34" charset="-122"/>
                  <a:sym typeface="微软雅黑" pitchFamily="34" charset="-122"/>
                </a:rPr>
                <a:t>单击添加文本单击添加文本单击添加文本单击添加文本单击</a:t>
              </a:r>
            </a:p>
          </p:txBody>
        </p:sp>
        <p:sp>
          <p:nvSpPr>
            <p:cNvPr id="18" name="TextBox 101"/>
            <p:cNvSpPr txBox="1"/>
            <p:nvPr/>
          </p:nvSpPr>
          <p:spPr bwMode="auto">
            <a:xfrm>
              <a:off x="6164265" y="322950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F83003"/>
                  </a:solidFill>
                  <a:latin typeface="微软雅黑" pitchFamily="34" charset="-122"/>
                  <a:ea typeface="微软雅黑" pitchFamily="34" charset="-122"/>
                  <a:cs typeface="Arial" pitchFamily="34" charset="0"/>
                </a:defRPr>
              </a:lvl1pPr>
            </a:lstStyle>
            <a:p>
              <a:r>
                <a:rPr lang="zh-CN" altLang="en-US" dirty="0">
                  <a:solidFill>
                    <a:schemeClr val="tx2"/>
                  </a:solidFill>
                </a:rPr>
                <a:t>添加标题</a:t>
              </a:r>
            </a:p>
          </p:txBody>
        </p:sp>
        <p:sp>
          <p:nvSpPr>
            <p:cNvPr id="19" name="矩形 1"/>
            <p:cNvSpPr>
              <a:spLocks noChangeArrowheads="1"/>
            </p:cNvSpPr>
            <p:nvPr/>
          </p:nvSpPr>
          <p:spPr bwMode="auto">
            <a:xfrm>
              <a:off x="6172276" y="3529569"/>
              <a:ext cx="1973962" cy="526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1000" dirty="0">
                  <a:solidFill>
                    <a:schemeClr val="accent1"/>
                  </a:solidFill>
                  <a:latin typeface="微软雅黑" pitchFamily="34" charset="-122"/>
                  <a:ea typeface="微软雅黑" pitchFamily="34" charset="-122"/>
                  <a:sym typeface="微软雅黑" pitchFamily="34" charset="-122"/>
                </a:rPr>
                <a:t>单击添加文本单击添加文本单击添加文本单击添加文本单击</a:t>
              </a:r>
            </a:p>
          </p:txBody>
        </p:sp>
        <p:sp>
          <p:nvSpPr>
            <p:cNvPr id="20" name="椭圆 19"/>
            <p:cNvSpPr/>
            <p:nvPr/>
          </p:nvSpPr>
          <p:spPr>
            <a:xfrm>
              <a:off x="5590452" y="3300820"/>
              <a:ext cx="536130" cy="536130"/>
            </a:xfrm>
            <a:prstGeom prst="ellipse">
              <a:avLst/>
            </a:prstGeom>
            <a:solidFill>
              <a:schemeClr val="tx2"/>
            </a:solidFill>
            <a:ln>
              <a:solidFill>
                <a:schemeClr val="tx2"/>
              </a:solidFill>
            </a:ln>
          </p:spPr>
          <p:txBody>
            <a:bodyPr/>
            <a:lstStyle/>
            <a:p>
              <a:endParaRPr lang="zh-CN" altLang="en-US" sz="1600">
                <a:solidFill>
                  <a:srgbClr val="080808"/>
                </a:solidFill>
              </a:endParaRPr>
            </a:p>
          </p:txBody>
        </p:sp>
        <p:sp>
          <p:nvSpPr>
            <p:cNvPr id="21" name="椭圆 20"/>
            <p:cNvSpPr/>
            <p:nvPr/>
          </p:nvSpPr>
          <p:spPr>
            <a:xfrm>
              <a:off x="5590452" y="1230720"/>
              <a:ext cx="536130" cy="536130"/>
            </a:xfrm>
            <a:prstGeom prst="ellipse">
              <a:avLst/>
            </a:prstGeom>
            <a:solidFill>
              <a:schemeClr val="tx1"/>
            </a:solidFill>
            <a:ln>
              <a:noFill/>
            </a:ln>
          </p:spPr>
          <p:txBody>
            <a:bodyPr/>
            <a:lstStyle/>
            <a:p>
              <a:endParaRPr lang="zh-CN" altLang="en-US" sz="1600">
                <a:solidFill>
                  <a:srgbClr val="080808"/>
                </a:solidFill>
              </a:endParaRPr>
            </a:p>
          </p:txBody>
        </p:sp>
        <p:sp>
          <p:nvSpPr>
            <p:cNvPr id="22" name="椭圆 21"/>
            <p:cNvSpPr/>
            <p:nvPr/>
          </p:nvSpPr>
          <p:spPr>
            <a:xfrm>
              <a:off x="2881223" y="2324222"/>
              <a:ext cx="536130" cy="536130"/>
            </a:xfrm>
            <a:prstGeom prst="ellipse">
              <a:avLst/>
            </a:prstGeom>
            <a:solidFill>
              <a:schemeClr val="bg2"/>
            </a:solidFill>
            <a:ln>
              <a:noFill/>
            </a:ln>
          </p:spPr>
          <p:txBody>
            <a:bodyPr/>
            <a:lstStyle/>
            <a:p>
              <a:endParaRPr lang="zh-CN" altLang="en-US" sz="1600">
                <a:solidFill>
                  <a:srgbClr val="080808"/>
                </a:solidFill>
              </a:endParaRPr>
            </a:p>
          </p:txBody>
        </p:sp>
        <p:sp>
          <p:nvSpPr>
            <p:cNvPr id="23" name="TextBox 682"/>
            <p:cNvSpPr txBox="1"/>
            <p:nvPr/>
          </p:nvSpPr>
          <p:spPr>
            <a:xfrm>
              <a:off x="5663670" y="1301196"/>
              <a:ext cx="369012"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a:solidFill>
                    <a:schemeClr val="accent2"/>
                  </a:solidFill>
                </a:rPr>
                <a:t>C</a:t>
              </a:r>
              <a:endParaRPr lang="zh-CN" altLang="en-US" sz="2000" dirty="0">
                <a:solidFill>
                  <a:schemeClr val="accent2"/>
                </a:solidFill>
              </a:endParaRPr>
            </a:p>
          </p:txBody>
        </p:sp>
        <p:sp>
          <p:nvSpPr>
            <p:cNvPr id="24" name="TextBox 682"/>
            <p:cNvSpPr txBox="1"/>
            <p:nvPr/>
          </p:nvSpPr>
          <p:spPr>
            <a:xfrm>
              <a:off x="5670884" y="3379577"/>
              <a:ext cx="354584"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a:solidFill>
                    <a:schemeClr val="accent2"/>
                  </a:solidFill>
                </a:rPr>
                <a:t>A</a:t>
              </a:r>
              <a:endParaRPr lang="zh-CN" altLang="en-US" sz="2000" dirty="0">
                <a:solidFill>
                  <a:schemeClr val="accent2"/>
                </a:solidFill>
              </a:endParaRPr>
            </a:p>
          </p:txBody>
        </p:sp>
        <p:sp>
          <p:nvSpPr>
            <p:cNvPr id="25" name="TextBox 682"/>
            <p:cNvSpPr txBox="1"/>
            <p:nvPr/>
          </p:nvSpPr>
          <p:spPr>
            <a:xfrm>
              <a:off x="2976310" y="2397162"/>
              <a:ext cx="354584"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a:solidFill>
                    <a:schemeClr val="accent2"/>
                  </a:solidFill>
                </a:rPr>
                <a:t>B</a:t>
              </a:r>
              <a:endParaRPr lang="zh-CN" altLang="en-US" sz="2000" dirty="0">
                <a:solidFill>
                  <a:schemeClr val="accent2"/>
                </a:solidFill>
              </a:endParaRPr>
            </a:p>
          </p:txBody>
        </p:sp>
        <p:sp>
          <p:nvSpPr>
            <p:cNvPr id="26" name="TextBox 109"/>
            <p:cNvSpPr txBox="1"/>
            <p:nvPr/>
          </p:nvSpPr>
          <p:spPr bwMode="auto">
            <a:xfrm>
              <a:off x="3305969" y="892281"/>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284848"/>
                  </a:solidFill>
                  <a:latin typeface="微软雅黑" pitchFamily="34" charset="-122"/>
                  <a:ea typeface="微软雅黑" pitchFamily="34" charset="-122"/>
                  <a:cs typeface="Arial" pitchFamily="34" charset="0"/>
                </a:defRPr>
              </a:lvl1pPr>
            </a:lstStyle>
            <a:p>
              <a:r>
                <a:rPr lang="zh-CN" altLang="en-US" dirty="0">
                  <a:solidFill>
                    <a:schemeClr val="bg1"/>
                  </a:solidFill>
                </a:rPr>
                <a:t>添加标题</a:t>
              </a:r>
            </a:p>
          </p:txBody>
        </p:sp>
      </p:grpSp>
      <p:grpSp>
        <p:nvGrpSpPr>
          <p:cNvPr id="36" name="组合 35">
            <a:extLst>
              <a:ext uri="{FF2B5EF4-FFF2-40B4-BE49-F238E27FC236}">
                <a16:creationId xmlns:a16="http://schemas.microsoft.com/office/drawing/2014/main" id="{1B925792-9CDA-4A42-9845-DCA1A03657B2}"/>
              </a:ext>
            </a:extLst>
          </p:cNvPr>
          <p:cNvGrpSpPr/>
          <p:nvPr/>
        </p:nvGrpSpPr>
        <p:grpSpPr>
          <a:xfrm>
            <a:off x="167253" y="3173016"/>
            <a:ext cx="1961213" cy="1744409"/>
            <a:chOff x="-68583" y="3173016"/>
            <a:chExt cx="1961213" cy="1744409"/>
          </a:xfrm>
        </p:grpSpPr>
        <p:pic>
          <p:nvPicPr>
            <p:cNvPr id="37" name="图片 36">
              <a:extLst>
                <a:ext uri="{FF2B5EF4-FFF2-40B4-BE49-F238E27FC236}">
                  <a16:creationId xmlns:a16="http://schemas.microsoft.com/office/drawing/2014/main" id="{D1C37758-6408-425A-B59D-C9651012CD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9827389">
              <a:off x="-68583" y="3173016"/>
              <a:ext cx="1659888" cy="1659888"/>
            </a:xfrm>
            <a:prstGeom prst="rect">
              <a:avLst/>
            </a:prstGeom>
          </p:spPr>
        </p:pic>
        <p:pic>
          <p:nvPicPr>
            <p:cNvPr id="38" name="图片 37">
              <a:extLst>
                <a:ext uri="{FF2B5EF4-FFF2-40B4-BE49-F238E27FC236}">
                  <a16:creationId xmlns:a16="http://schemas.microsoft.com/office/drawing/2014/main" id="{A18F1598-D9CA-46A5-A8A4-DBDF1DA1C13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1149" y="4227934"/>
              <a:ext cx="1541481" cy="689491"/>
            </a:xfrm>
            <a:prstGeom prst="rect">
              <a:avLst/>
            </a:prstGeom>
          </p:spPr>
        </p:pic>
      </p:grpSp>
      <p:grpSp>
        <p:nvGrpSpPr>
          <p:cNvPr id="39" name="组合 38">
            <a:extLst>
              <a:ext uri="{FF2B5EF4-FFF2-40B4-BE49-F238E27FC236}">
                <a16:creationId xmlns:a16="http://schemas.microsoft.com/office/drawing/2014/main" id="{2CBDC7BD-6DC4-48ED-BEFD-CD17BDE9B408}"/>
              </a:ext>
            </a:extLst>
          </p:cNvPr>
          <p:cNvGrpSpPr/>
          <p:nvPr/>
        </p:nvGrpSpPr>
        <p:grpSpPr>
          <a:xfrm>
            <a:off x="4572000" y="292398"/>
            <a:ext cx="4086895" cy="788287"/>
            <a:chOff x="4687332" y="287447"/>
            <a:chExt cx="4086895" cy="788287"/>
          </a:xfrm>
        </p:grpSpPr>
        <p:grpSp>
          <p:nvGrpSpPr>
            <p:cNvPr id="40" name="组合 39">
              <a:extLst>
                <a:ext uri="{FF2B5EF4-FFF2-40B4-BE49-F238E27FC236}">
                  <a16:creationId xmlns:a16="http://schemas.microsoft.com/office/drawing/2014/main" id="{20096201-E8ED-44B3-AB08-78EF1B817AB2}"/>
                </a:ext>
              </a:extLst>
            </p:cNvPr>
            <p:cNvGrpSpPr/>
            <p:nvPr/>
          </p:nvGrpSpPr>
          <p:grpSpPr>
            <a:xfrm>
              <a:off x="4687332" y="287447"/>
              <a:ext cx="3510263" cy="788287"/>
              <a:chOff x="4932040" y="411510"/>
              <a:chExt cx="3510263" cy="788287"/>
            </a:xfrm>
          </p:grpSpPr>
          <p:sp>
            <p:nvSpPr>
              <p:cNvPr id="42" name="Text Placeholder 8">
                <a:extLst>
                  <a:ext uri="{FF2B5EF4-FFF2-40B4-BE49-F238E27FC236}">
                    <a16:creationId xmlns:a16="http://schemas.microsoft.com/office/drawing/2014/main" id="{B79D4D56-897B-400B-A5E4-BBF1ABE2DD02}"/>
                  </a:ext>
                </a:extLst>
              </p:cNvPr>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600" dirty="0">
                    <a:solidFill>
                      <a:schemeClr val="bg1"/>
                    </a:solidFill>
                    <a:latin typeface="微软雅黑" panose="020B0503020204020204" pitchFamily="34" charset="-122"/>
                    <a:ea typeface="微软雅黑" panose="020B0503020204020204" pitchFamily="34" charset="-122"/>
                  </a:rPr>
                  <a:t>标题内容</a:t>
                </a:r>
                <a:endParaRPr lang="en-US" altLang="zh-CN" sz="2600" dirty="0">
                  <a:solidFill>
                    <a:schemeClr val="bg1"/>
                  </a:solidFill>
                  <a:latin typeface="微软雅黑" panose="020B0503020204020204" pitchFamily="34" charset="-122"/>
                  <a:ea typeface="微软雅黑" panose="020B0503020204020204" pitchFamily="34" charset="-122"/>
                </a:endParaRPr>
              </a:p>
            </p:txBody>
          </p:sp>
          <p:sp>
            <p:nvSpPr>
              <p:cNvPr id="43" name="Text Placeholder 9">
                <a:extLst>
                  <a:ext uri="{FF2B5EF4-FFF2-40B4-BE49-F238E27FC236}">
                    <a16:creationId xmlns:a16="http://schemas.microsoft.com/office/drawing/2014/main" id="{3F45AAEB-1D72-416D-8C5F-6D9040CF1EE3}"/>
                  </a:ext>
                </a:extLst>
              </p:cNvPr>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400" dirty="0">
                    <a:solidFill>
                      <a:schemeClr val="accent1"/>
                    </a:solidFill>
                    <a:latin typeface="微软雅黑" panose="020B0503020204020204" pitchFamily="34" charset="-122"/>
                    <a:ea typeface="微软雅黑" panose="020B0503020204020204" pitchFamily="34" charset="-122"/>
                  </a:rPr>
                  <a:t>单击此处添加副标题</a:t>
                </a:r>
                <a:endParaRPr lang="en-US" altLang="zh-CN" sz="1400" dirty="0">
                  <a:solidFill>
                    <a:schemeClr val="accent1"/>
                  </a:solidFill>
                  <a:latin typeface="微软雅黑" panose="020B0503020204020204" pitchFamily="34" charset="-122"/>
                  <a:ea typeface="微软雅黑" panose="020B0503020204020204" pitchFamily="34" charset="-122"/>
                </a:endParaRPr>
              </a:p>
            </p:txBody>
          </p:sp>
          <p:cxnSp>
            <p:nvCxnSpPr>
              <p:cNvPr id="44" name="Straight Connector 12">
                <a:extLst>
                  <a:ext uri="{FF2B5EF4-FFF2-40B4-BE49-F238E27FC236}">
                    <a16:creationId xmlns:a16="http://schemas.microsoft.com/office/drawing/2014/main" id="{4D4DC3C9-03F1-4F45-927D-07B20102E7A5}"/>
                  </a:ext>
                </a:extLst>
              </p:cNvPr>
              <p:cNvCxnSpPr>
                <a:cxnSpLocks/>
              </p:cNvCxnSpPr>
              <p:nvPr/>
            </p:nvCxnSpPr>
            <p:spPr>
              <a:xfrm>
                <a:off x="8442303" y="551452"/>
                <a:ext cx="0" cy="45312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41" name="图片 40">
              <a:extLst>
                <a:ext uri="{FF2B5EF4-FFF2-40B4-BE49-F238E27FC236}">
                  <a16:creationId xmlns:a16="http://schemas.microsoft.com/office/drawing/2014/main" id="{9D01C156-1D15-46AF-A94D-B1D3CF0F282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16416" y="427389"/>
              <a:ext cx="457811" cy="457200"/>
            </a:xfrm>
            <a:prstGeom prst="rect">
              <a:avLst/>
            </a:prstGeom>
          </p:spPr>
        </p:pic>
      </p:grpSp>
    </p:spTree>
    <p:extLst>
      <p:ext uri="{BB962C8B-B14F-4D97-AF65-F5344CB8AC3E}">
        <p14:creationId xmlns:p14="http://schemas.microsoft.com/office/powerpoint/2010/main" val="1074540427"/>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6" presetClass="emph" presetSubtype="0" fill="hold" nodeType="clickEffect">
                                  <p:stCondLst>
                                    <p:cond delay="0"/>
                                  </p:stCondLst>
                                  <p:childTnLst>
                                    <p:animEffect transition="out" filter="fade">
                                      <p:cBhvr>
                                        <p:cTn id="13" dur="500" tmFilter="0, 0; .2, .5; .8, .5; 1, 0"/>
                                        <p:tgtEl>
                                          <p:spTgt spid="8"/>
                                        </p:tgtEl>
                                      </p:cBhvr>
                                    </p:animEffect>
                                    <p:animScale>
                                      <p:cBhvr>
                                        <p:cTn id="14" dur="25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4"/>
          <p:cNvSpPr>
            <a:spLocks noChangeArrowheads="1"/>
          </p:cNvSpPr>
          <p:nvPr>
            <p:custDataLst>
              <p:tags r:id="rId1"/>
            </p:custDataLst>
          </p:nvPr>
        </p:nvSpPr>
        <p:spPr bwMode="white">
          <a:xfrm>
            <a:off x="1004575" y="1709754"/>
            <a:ext cx="2181209" cy="1510068"/>
          </a:xfrm>
          <a:prstGeom prst="roundRect">
            <a:avLst>
              <a:gd name="adj" fmla="val 5304"/>
            </a:avLst>
          </a:prstGeom>
          <a:noFill/>
          <a:ln w="38100" cap="flat" cmpd="sng" algn="ctr">
            <a:solidFill>
              <a:schemeClr val="bg1"/>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微软雅黑" pitchFamily="34" charset="-122"/>
              <a:ea typeface="微软雅黑" pitchFamily="34" charset="-122"/>
            </a:endParaRPr>
          </a:p>
        </p:txBody>
      </p:sp>
      <p:sp>
        <p:nvSpPr>
          <p:cNvPr id="9" name="AutoShape 4"/>
          <p:cNvSpPr>
            <a:spLocks noChangeArrowheads="1"/>
          </p:cNvSpPr>
          <p:nvPr>
            <p:custDataLst>
              <p:tags r:id="rId2"/>
            </p:custDataLst>
          </p:nvPr>
        </p:nvSpPr>
        <p:spPr bwMode="white">
          <a:xfrm>
            <a:off x="3555787" y="1709754"/>
            <a:ext cx="2181209" cy="1510068"/>
          </a:xfrm>
          <a:prstGeom prst="roundRect">
            <a:avLst>
              <a:gd name="adj" fmla="val 7012"/>
            </a:avLst>
          </a:prstGeom>
          <a:noFill/>
          <a:ln w="38100" cap="flat" cmpd="sng" algn="ctr">
            <a:solidFill>
              <a:schemeClr val="tx1"/>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微软雅黑" pitchFamily="34" charset="-122"/>
              <a:ea typeface="微软雅黑" pitchFamily="34" charset="-122"/>
            </a:endParaRPr>
          </a:p>
        </p:txBody>
      </p:sp>
      <p:sp>
        <p:nvSpPr>
          <p:cNvPr id="10" name="AutoShape 3"/>
          <p:cNvSpPr>
            <a:spLocks noChangeArrowheads="1"/>
          </p:cNvSpPr>
          <p:nvPr/>
        </p:nvSpPr>
        <p:spPr bwMode="auto">
          <a:xfrm>
            <a:off x="3866929" y="1342709"/>
            <a:ext cx="1510068" cy="469799"/>
          </a:xfrm>
          <a:prstGeom prst="roundRect">
            <a:avLst/>
          </a:prstGeom>
          <a:solidFill>
            <a:schemeClr val="tx1"/>
          </a:solidFill>
          <a:ln w="25400" cap="flat" cmpd="sng" algn="ctr">
            <a:noFill/>
            <a:prstDash val="solid"/>
          </a:ln>
          <a:effectLst/>
        </p:spPr>
        <p:txBody>
          <a:bodyPr anchor="ctr">
            <a:sp3d/>
          </a:bodyPr>
          <a:lstStyle/>
          <a:p>
            <a:pPr algn="ctr" eaLnBrk="0" fontAlgn="ctr" hangingPunct="0">
              <a:buClr>
                <a:srgbClr val="FF0000"/>
              </a:buClr>
              <a:buSzPct val="70000"/>
              <a:defRPr/>
            </a:pPr>
            <a:endParaRPr lang="zh-CN" altLang="zh-CN" sz="1600" b="1" kern="0">
              <a:solidFill>
                <a:srgbClr val="FFFFFF"/>
              </a:solidFill>
              <a:latin typeface="微软雅黑" pitchFamily="34" charset="-122"/>
              <a:ea typeface="微软雅黑" pitchFamily="34" charset="-122"/>
            </a:endParaRPr>
          </a:p>
        </p:txBody>
      </p:sp>
      <p:sp>
        <p:nvSpPr>
          <p:cNvPr id="11" name="TextBox 19"/>
          <p:cNvSpPr txBox="1"/>
          <p:nvPr/>
        </p:nvSpPr>
        <p:spPr bwMode="auto">
          <a:xfrm>
            <a:off x="3946966" y="1408920"/>
            <a:ext cx="1337431"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a:solidFill>
                  <a:schemeClr val="accent2"/>
                </a:solidFill>
                <a:latin typeface="微软雅黑" pitchFamily="34" charset="-122"/>
                <a:ea typeface="微软雅黑" pitchFamily="34" charset="-122"/>
              </a:rPr>
              <a:t>标题文字</a:t>
            </a:r>
          </a:p>
        </p:txBody>
      </p:sp>
      <p:sp>
        <p:nvSpPr>
          <p:cNvPr id="12" name="AutoShape 3"/>
          <p:cNvSpPr>
            <a:spLocks noChangeArrowheads="1"/>
          </p:cNvSpPr>
          <p:nvPr/>
        </p:nvSpPr>
        <p:spPr bwMode="auto">
          <a:xfrm>
            <a:off x="1315717" y="1342709"/>
            <a:ext cx="1510068" cy="469799"/>
          </a:xfrm>
          <a:prstGeom prst="roundRect">
            <a:avLst/>
          </a:prstGeom>
          <a:solidFill>
            <a:schemeClr val="bg1"/>
          </a:solidFill>
          <a:ln w="25400" cap="flat" cmpd="sng" algn="ctr">
            <a:noFill/>
            <a:prstDash val="solid"/>
          </a:ln>
          <a:effectLst/>
        </p:spPr>
        <p:txBody>
          <a:bodyPr anchor="ctr">
            <a:sp3d/>
          </a:bodyPr>
          <a:lstStyle/>
          <a:p>
            <a:pPr algn="ctr" eaLnBrk="0" fontAlgn="ctr" hangingPunct="0">
              <a:buClr>
                <a:srgbClr val="FF0000"/>
              </a:buClr>
              <a:buSzPct val="70000"/>
              <a:buFont typeface="Wingdings" pitchFamily="2" charset="2"/>
              <a:buChar char="u"/>
              <a:defRPr/>
            </a:pPr>
            <a:endParaRPr lang="zh-CN" altLang="zh-CN" sz="1600" b="1" kern="0" dirty="0">
              <a:solidFill>
                <a:srgbClr val="FFFFFF"/>
              </a:solidFill>
              <a:latin typeface="微软雅黑" pitchFamily="34" charset="-122"/>
              <a:ea typeface="微软雅黑" pitchFamily="34" charset="-122"/>
            </a:endParaRPr>
          </a:p>
        </p:txBody>
      </p:sp>
      <p:sp>
        <p:nvSpPr>
          <p:cNvPr id="13" name="TextBox 21"/>
          <p:cNvSpPr txBox="1"/>
          <p:nvPr/>
        </p:nvSpPr>
        <p:spPr bwMode="auto">
          <a:xfrm>
            <a:off x="1419378" y="1408920"/>
            <a:ext cx="1286465"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a:solidFill>
                  <a:schemeClr val="accent2"/>
                </a:solidFill>
                <a:latin typeface="微软雅黑" pitchFamily="34" charset="-122"/>
                <a:ea typeface="微软雅黑" pitchFamily="34" charset="-122"/>
              </a:rPr>
              <a:t>标题文字</a:t>
            </a:r>
            <a:endParaRPr lang="zh-CN" altLang="zh-CN" sz="1600" b="1" dirty="0">
              <a:solidFill>
                <a:schemeClr val="accent2"/>
              </a:solidFill>
              <a:latin typeface="微软雅黑" pitchFamily="34" charset="-122"/>
              <a:ea typeface="微软雅黑" pitchFamily="34" charset="-122"/>
            </a:endParaRPr>
          </a:p>
        </p:txBody>
      </p:sp>
      <p:sp>
        <p:nvSpPr>
          <p:cNvPr id="14" name="矩形 13"/>
          <p:cNvSpPr/>
          <p:nvPr/>
        </p:nvSpPr>
        <p:spPr>
          <a:xfrm>
            <a:off x="1033737"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15" name="矩形 14"/>
          <p:cNvSpPr/>
          <p:nvPr/>
        </p:nvSpPr>
        <p:spPr>
          <a:xfrm>
            <a:off x="1033737"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16" name="矩形 15"/>
          <p:cNvSpPr/>
          <p:nvPr/>
        </p:nvSpPr>
        <p:spPr>
          <a:xfrm>
            <a:off x="3584850"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17" name="矩形 16"/>
          <p:cNvSpPr/>
          <p:nvPr/>
        </p:nvSpPr>
        <p:spPr>
          <a:xfrm>
            <a:off x="3584850"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18" name="AutoShape 4"/>
          <p:cNvSpPr>
            <a:spLocks noChangeArrowheads="1"/>
          </p:cNvSpPr>
          <p:nvPr>
            <p:custDataLst>
              <p:tags r:id="rId3"/>
            </p:custDataLst>
          </p:nvPr>
        </p:nvSpPr>
        <p:spPr bwMode="white">
          <a:xfrm>
            <a:off x="6098942" y="1709754"/>
            <a:ext cx="2181209" cy="1510068"/>
          </a:xfrm>
          <a:prstGeom prst="roundRect">
            <a:avLst>
              <a:gd name="adj" fmla="val 7012"/>
            </a:avLst>
          </a:prstGeom>
          <a:noFill/>
          <a:ln w="38100" cap="flat" cmpd="sng" algn="ctr">
            <a:solidFill>
              <a:schemeClr val="bg2"/>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微软雅黑" pitchFamily="34" charset="-122"/>
              <a:ea typeface="微软雅黑" pitchFamily="34" charset="-122"/>
            </a:endParaRPr>
          </a:p>
        </p:txBody>
      </p:sp>
      <p:sp>
        <p:nvSpPr>
          <p:cNvPr id="19" name="AutoShape 3"/>
          <p:cNvSpPr>
            <a:spLocks noChangeArrowheads="1"/>
          </p:cNvSpPr>
          <p:nvPr/>
        </p:nvSpPr>
        <p:spPr bwMode="auto">
          <a:xfrm>
            <a:off x="6410084" y="1342709"/>
            <a:ext cx="1510068" cy="469799"/>
          </a:xfrm>
          <a:prstGeom prst="roundRect">
            <a:avLst/>
          </a:prstGeom>
          <a:solidFill>
            <a:schemeClr val="bg2"/>
          </a:solidFill>
          <a:ln w="25400" cap="flat" cmpd="sng" algn="ctr">
            <a:noFill/>
            <a:prstDash val="solid"/>
          </a:ln>
          <a:effectLst/>
        </p:spPr>
        <p:txBody>
          <a:bodyPr anchor="ctr">
            <a:sp3d/>
          </a:bodyPr>
          <a:lstStyle/>
          <a:p>
            <a:pPr algn="ctr" eaLnBrk="0" fontAlgn="ctr" hangingPunct="0">
              <a:buClr>
                <a:srgbClr val="FF0000"/>
              </a:buClr>
              <a:buSzPct val="70000"/>
              <a:defRPr/>
            </a:pPr>
            <a:endParaRPr lang="zh-CN" altLang="zh-CN" sz="1600" b="1" kern="0">
              <a:solidFill>
                <a:srgbClr val="FFFFFF"/>
              </a:solidFill>
              <a:latin typeface="微软雅黑" pitchFamily="34" charset="-122"/>
              <a:ea typeface="微软雅黑" pitchFamily="34" charset="-122"/>
            </a:endParaRPr>
          </a:p>
        </p:txBody>
      </p:sp>
      <p:sp>
        <p:nvSpPr>
          <p:cNvPr id="20" name="TextBox 28"/>
          <p:cNvSpPr txBox="1"/>
          <p:nvPr/>
        </p:nvSpPr>
        <p:spPr bwMode="auto">
          <a:xfrm>
            <a:off x="6490121" y="1408920"/>
            <a:ext cx="1337431"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a:solidFill>
                  <a:schemeClr val="accent2"/>
                </a:solidFill>
                <a:latin typeface="微软雅黑" pitchFamily="34" charset="-122"/>
                <a:ea typeface="微软雅黑" pitchFamily="34" charset="-122"/>
              </a:rPr>
              <a:t>标题文字</a:t>
            </a:r>
          </a:p>
        </p:txBody>
      </p:sp>
      <p:sp>
        <p:nvSpPr>
          <p:cNvPr id="21" name="矩形 20"/>
          <p:cNvSpPr/>
          <p:nvPr/>
        </p:nvSpPr>
        <p:spPr>
          <a:xfrm>
            <a:off x="6128005"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22" name="矩形 21"/>
          <p:cNvSpPr/>
          <p:nvPr/>
        </p:nvSpPr>
        <p:spPr>
          <a:xfrm>
            <a:off x="6128005"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点击添加文本</a:t>
            </a:r>
          </a:p>
        </p:txBody>
      </p:sp>
      <p:sp>
        <p:nvSpPr>
          <p:cNvPr id="23" name="TextBox 37"/>
          <p:cNvSpPr txBox="1"/>
          <p:nvPr/>
        </p:nvSpPr>
        <p:spPr>
          <a:xfrm>
            <a:off x="1763688" y="3808461"/>
            <a:ext cx="5256584" cy="400110"/>
          </a:xfrm>
          <a:prstGeom prst="rect">
            <a:avLst/>
          </a:prstGeom>
          <a:noFill/>
        </p:spPr>
        <p:txBody>
          <a:bodyPr wrap="square" rtlCol="0">
            <a:spAutoFit/>
          </a:bodyPr>
          <a:lstStyle/>
          <a:p>
            <a:r>
              <a:rPr lang="zh-CN" altLang="en-US" sz="1000" b="1" spc="-10" dirty="0">
                <a:solidFill>
                  <a:schemeClr val="accent1"/>
                </a:solidFill>
                <a:latin typeface="微软雅黑" panose="020B0503020204020204" pitchFamily="34" charset="-122"/>
                <a:ea typeface="微软雅黑" panose="020B0503020204020204" pitchFamily="34" charset="-122"/>
              </a:rPr>
              <a:t>请输入内容请输入文字内容请输入内容请输入文字内容请输入内容请输入文字内容请输入内容请输入文字内容请输入内容请输入文字内容请输入内容请输入文字内容请输入内容请输入</a:t>
            </a:r>
          </a:p>
        </p:txBody>
      </p:sp>
      <p:sp>
        <p:nvSpPr>
          <p:cNvPr id="24" name="TextBox 38"/>
          <p:cNvSpPr txBox="1"/>
          <p:nvPr/>
        </p:nvSpPr>
        <p:spPr>
          <a:xfrm>
            <a:off x="3779065" y="3435846"/>
            <a:ext cx="2054567" cy="338554"/>
          </a:xfrm>
          <a:prstGeom prst="rect">
            <a:avLst/>
          </a:prstGeom>
          <a:noFill/>
        </p:spPr>
        <p:txBody>
          <a:bodyPr wrap="square" rtlCol="0">
            <a:spAutoFit/>
          </a:bodyPr>
          <a:lstStyle/>
          <a:p>
            <a:r>
              <a:rPr lang="zh-CN" altLang="en-US" sz="1600" b="1" spc="-10" dirty="0">
                <a:latin typeface="微软雅黑" panose="020B0503020204020204" pitchFamily="34" charset="-122"/>
                <a:ea typeface="微软雅黑" panose="020B0503020204020204" pitchFamily="34" charset="-122"/>
              </a:rPr>
              <a:t>标题文字内容</a:t>
            </a:r>
          </a:p>
        </p:txBody>
      </p:sp>
      <p:pic>
        <p:nvPicPr>
          <p:cNvPr id="31" name="图片 30">
            <a:extLst>
              <a:ext uri="{FF2B5EF4-FFF2-40B4-BE49-F238E27FC236}">
                <a16:creationId xmlns:a16="http://schemas.microsoft.com/office/drawing/2014/main" id="{121B6663-AE37-43C0-95AE-65F3F45E7BE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58741" y="3832702"/>
            <a:ext cx="1258315" cy="1022834"/>
          </a:xfrm>
          <a:prstGeom prst="rect">
            <a:avLst/>
          </a:prstGeom>
        </p:spPr>
      </p:pic>
      <p:grpSp>
        <p:nvGrpSpPr>
          <p:cNvPr id="32" name="组合 31">
            <a:extLst>
              <a:ext uri="{FF2B5EF4-FFF2-40B4-BE49-F238E27FC236}">
                <a16:creationId xmlns:a16="http://schemas.microsoft.com/office/drawing/2014/main" id="{F6BFE958-60AA-4C5B-8A3A-6D1DFF332651}"/>
              </a:ext>
            </a:extLst>
          </p:cNvPr>
          <p:cNvGrpSpPr/>
          <p:nvPr/>
        </p:nvGrpSpPr>
        <p:grpSpPr>
          <a:xfrm>
            <a:off x="4520937" y="330411"/>
            <a:ext cx="4122747" cy="788287"/>
            <a:chOff x="4572000" y="372139"/>
            <a:chExt cx="4122747" cy="788287"/>
          </a:xfrm>
        </p:grpSpPr>
        <p:grpSp>
          <p:nvGrpSpPr>
            <p:cNvPr id="33" name="组合 32">
              <a:extLst>
                <a:ext uri="{FF2B5EF4-FFF2-40B4-BE49-F238E27FC236}">
                  <a16:creationId xmlns:a16="http://schemas.microsoft.com/office/drawing/2014/main" id="{3A8AAA0D-8C90-4BCD-A69C-38A0C38F23B6}"/>
                </a:ext>
              </a:extLst>
            </p:cNvPr>
            <p:cNvGrpSpPr/>
            <p:nvPr/>
          </p:nvGrpSpPr>
          <p:grpSpPr>
            <a:xfrm>
              <a:off x="4572000" y="372139"/>
              <a:ext cx="3524752" cy="788287"/>
              <a:chOff x="4932040" y="411510"/>
              <a:chExt cx="3524752" cy="788287"/>
            </a:xfrm>
          </p:grpSpPr>
          <p:sp>
            <p:nvSpPr>
              <p:cNvPr id="35" name="Text Placeholder 8">
                <a:extLst>
                  <a:ext uri="{FF2B5EF4-FFF2-40B4-BE49-F238E27FC236}">
                    <a16:creationId xmlns:a16="http://schemas.microsoft.com/office/drawing/2014/main" id="{A16A00DE-2B69-4B39-9D12-1B8BFDAD649D}"/>
                  </a:ext>
                </a:extLst>
              </p:cNvPr>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600" dirty="0">
                    <a:solidFill>
                      <a:schemeClr val="tx2"/>
                    </a:solidFill>
                    <a:latin typeface="微软雅黑" panose="020B0503020204020204" pitchFamily="34" charset="-122"/>
                    <a:ea typeface="微软雅黑" panose="020B0503020204020204" pitchFamily="34" charset="-122"/>
                  </a:rPr>
                  <a:t>标题内容</a:t>
                </a:r>
                <a:endParaRPr lang="en-US" altLang="zh-CN" sz="2600" dirty="0">
                  <a:solidFill>
                    <a:schemeClr val="tx2"/>
                  </a:solidFill>
                  <a:latin typeface="微软雅黑" panose="020B0503020204020204" pitchFamily="34" charset="-122"/>
                  <a:ea typeface="微软雅黑" panose="020B0503020204020204" pitchFamily="34" charset="-122"/>
                </a:endParaRPr>
              </a:p>
            </p:txBody>
          </p:sp>
          <p:sp>
            <p:nvSpPr>
              <p:cNvPr id="36" name="Text Placeholder 9">
                <a:extLst>
                  <a:ext uri="{FF2B5EF4-FFF2-40B4-BE49-F238E27FC236}">
                    <a16:creationId xmlns:a16="http://schemas.microsoft.com/office/drawing/2014/main" id="{AEFD432D-13D9-477D-A70F-8E9AF1932631}"/>
                  </a:ext>
                </a:extLst>
              </p:cNvPr>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400" dirty="0">
                    <a:solidFill>
                      <a:schemeClr val="accent1"/>
                    </a:solidFill>
                    <a:latin typeface="微软雅黑" panose="020B0503020204020204" pitchFamily="34" charset="-122"/>
                    <a:ea typeface="微软雅黑" panose="020B0503020204020204" pitchFamily="34" charset="-122"/>
                  </a:rPr>
                  <a:t>单击此处添加副标题</a:t>
                </a:r>
                <a:endParaRPr lang="en-US" altLang="zh-CN" sz="1400" dirty="0">
                  <a:solidFill>
                    <a:schemeClr val="accent1"/>
                  </a:solidFill>
                  <a:latin typeface="微软雅黑" panose="020B0503020204020204" pitchFamily="34" charset="-122"/>
                  <a:ea typeface="微软雅黑" panose="020B0503020204020204" pitchFamily="34" charset="-122"/>
                </a:endParaRPr>
              </a:p>
            </p:txBody>
          </p:sp>
          <p:cxnSp>
            <p:nvCxnSpPr>
              <p:cNvPr id="37" name="Straight Connector 12">
                <a:extLst>
                  <a:ext uri="{FF2B5EF4-FFF2-40B4-BE49-F238E27FC236}">
                    <a16:creationId xmlns:a16="http://schemas.microsoft.com/office/drawing/2014/main" id="{7502F811-65A6-4A86-B80B-96D086B8B43C}"/>
                  </a:ext>
                </a:extLst>
              </p:cNvPr>
              <p:cNvCxnSpPr>
                <a:cxnSpLocks/>
              </p:cNvCxnSpPr>
              <p:nvPr/>
            </p:nvCxnSpPr>
            <p:spPr>
              <a:xfrm>
                <a:off x="8456792" y="490922"/>
                <a:ext cx="0" cy="51773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34" name="图片 33">
              <a:extLst>
                <a:ext uri="{FF2B5EF4-FFF2-40B4-BE49-F238E27FC236}">
                  <a16:creationId xmlns:a16="http://schemas.microsoft.com/office/drawing/2014/main" id="{7B293E07-597B-4766-A0C8-632894251BB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36777" y="451551"/>
              <a:ext cx="457970" cy="457359"/>
            </a:xfrm>
            <a:prstGeom prst="rect">
              <a:avLst/>
            </a:prstGeom>
          </p:spPr>
        </p:pic>
      </p:grpSp>
    </p:spTree>
    <p:extLst>
      <p:ext uri="{BB962C8B-B14F-4D97-AF65-F5344CB8AC3E}">
        <p14:creationId xmlns:p14="http://schemas.microsoft.com/office/powerpoint/2010/main" val="275011574"/>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900" decel="100000" fill="hold"/>
                                        <p:tgtEl>
                                          <p:spTgt spid="12"/>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2"/>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12" presetClass="entr" presetSubtype="4" fill="hold" grpId="0"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slide(fromBottom)">
                                      <p:cBhvr>
                                        <p:cTn id="14" dur="500"/>
                                        <p:tgtEl>
                                          <p:spTgt spid="13"/>
                                        </p:tgtEl>
                                      </p:cBhvr>
                                    </p:animEffect>
                                  </p:childTnLst>
                                </p:cTn>
                              </p:par>
                            </p:childTnLst>
                          </p:cTn>
                        </p:par>
                        <p:par>
                          <p:cTn id="15" fill="hold">
                            <p:stCondLst>
                              <p:cond delay="1500"/>
                            </p:stCondLst>
                            <p:childTnLst>
                              <p:par>
                                <p:cTn id="16" presetID="12" presetClass="entr" presetSubtype="1"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slide(fromTop)">
                                      <p:cBhvr>
                                        <p:cTn id="18" dur="500"/>
                                        <p:tgtEl>
                                          <p:spTgt spid="8"/>
                                        </p:tgtEl>
                                      </p:cBhvr>
                                    </p:animEffect>
                                  </p:childTnLst>
                                </p:cTn>
                              </p:par>
                            </p:childTnLst>
                          </p:cTn>
                        </p:par>
                        <p:par>
                          <p:cTn id="19" fill="hold">
                            <p:stCondLst>
                              <p:cond delay="2000"/>
                            </p:stCondLst>
                            <p:childTnLst>
                              <p:par>
                                <p:cTn id="20" presetID="12" presetClass="entr" presetSubtype="4" fill="hold" grpId="0"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slide(fromBottom)">
                                      <p:cBhvr>
                                        <p:cTn id="22" dur="500"/>
                                        <p:tgtEl>
                                          <p:spTgt spid="14"/>
                                        </p:tgtEl>
                                      </p:cBhvr>
                                    </p:animEffect>
                                  </p:childTnLst>
                                </p:cTn>
                              </p:par>
                            </p:childTnLst>
                          </p:cTn>
                        </p:par>
                        <p:par>
                          <p:cTn id="23" fill="hold">
                            <p:stCondLst>
                              <p:cond delay="2500"/>
                            </p:stCondLst>
                            <p:childTnLst>
                              <p:par>
                                <p:cTn id="24" presetID="12" presetClass="entr" presetSubtype="4"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slide(fromBottom)">
                                      <p:cBhvr>
                                        <p:cTn id="26" dur="500"/>
                                        <p:tgtEl>
                                          <p:spTgt spid="15"/>
                                        </p:tgtEl>
                                      </p:cBhvr>
                                    </p:animEffect>
                                  </p:childTnLst>
                                </p:cTn>
                              </p:par>
                            </p:childTnLst>
                          </p:cTn>
                        </p:par>
                        <p:par>
                          <p:cTn id="27" fill="hold">
                            <p:stCondLst>
                              <p:cond delay="3000"/>
                            </p:stCondLst>
                            <p:childTnLst>
                              <p:par>
                                <p:cTn id="28" presetID="37" presetClass="entr" presetSubtype="0" fill="hold" grpId="0" nodeType="after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1000"/>
                                        <p:tgtEl>
                                          <p:spTgt spid="10"/>
                                        </p:tgtEl>
                                      </p:cBhvr>
                                    </p:animEffect>
                                    <p:anim calcmode="lin" valueType="num">
                                      <p:cBhvr>
                                        <p:cTn id="31" dur="1000" fill="hold"/>
                                        <p:tgtEl>
                                          <p:spTgt spid="10"/>
                                        </p:tgtEl>
                                        <p:attrNameLst>
                                          <p:attrName>ppt_x</p:attrName>
                                        </p:attrNameLst>
                                      </p:cBhvr>
                                      <p:tavLst>
                                        <p:tav tm="0">
                                          <p:val>
                                            <p:strVal val="#ppt_x"/>
                                          </p:val>
                                        </p:tav>
                                        <p:tav tm="100000">
                                          <p:val>
                                            <p:strVal val="#ppt_x"/>
                                          </p:val>
                                        </p:tav>
                                      </p:tavLst>
                                    </p:anim>
                                    <p:anim calcmode="lin" valueType="num">
                                      <p:cBhvr>
                                        <p:cTn id="32" dur="900" decel="100000" fill="hold"/>
                                        <p:tgtEl>
                                          <p:spTgt spid="10"/>
                                        </p:tgtEl>
                                        <p:attrNameLst>
                                          <p:attrName>ppt_y</p:attrName>
                                        </p:attrNameLst>
                                      </p:cBhvr>
                                      <p:tavLst>
                                        <p:tav tm="0">
                                          <p:val>
                                            <p:strVal val="#ppt_y+1"/>
                                          </p:val>
                                        </p:tav>
                                        <p:tav tm="100000">
                                          <p:val>
                                            <p:strVal val="#ppt_y-.03"/>
                                          </p:val>
                                        </p:tav>
                                      </p:tavLst>
                                    </p:anim>
                                    <p:anim calcmode="lin" valueType="num">
                                      <p:cBhvr>
                                        <p:cTn id="33" dur="100" accel="100000" fill="hold">
                                          <p:stCondLst>
                                            <p:cond delay="900"/>
                                          </p:stCondLst>
                                        </p:cTn>
                                        <p:tgtEl>
                                          <p:spTgt spid="10"/>
                                        </p:tgtEl>
                                        <p:attrNameLst>
                                          <p:attrName>ppt_y</p:attrName>
                                        </p:attrNameLst>
                                      </p:cBhvr>
                                      <p:tavLst>
                                        <p:tav tm="0">
                                          <p:val>
                                            <p:strVal val="#ppt_y-.03"/>
                                          </p:val>
                                        </p:tav>
                                        <p:tav tm="100000">
                                          <p:val>
                                            <p:strVal val="#ppt_y"/>
                                          </p:val>
                                        </p:tav>
                                      </p:tavLst>
                                    </p:anim>
                                  </p:childTnLst>
                                </p:cTn>
                              </p:par>
                            </p:childTnLst>
                          </p:cTn>
                        </p:par>
                        <p:par>
                          <p:cTn id="34" fill="hold">
                            <p:stCondLst>
                              <p:cond delay="4000"/>
                            </p:stCondLst>
                            <p:childTnLst>
                              <p:par>
                                <p:cTn id="35" presetID="12" presetClass="entr" presetSubtype="4" fill="hold" grpId="0" nodeType="after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slide(fromBottom)">
                                      <p:cBhvr>
                                        <p:cTn id="37" dur="500"/>
                                        <p:tgtEl>
                                          <p:spTgt spid="11"/>
                                        </p:tgtEl>
                                      </p:cBhvr>
                                    </p:animEffect>
                                  </p:childTnLst>
                                </p:cTn>
                              </p:par>
                            </p:childTnLst>
                          </p:cTn>
                        </p:par>
                        <p:par>
                          <p:cTn id="38" fill="hold">
                            <p:stCondLst>
                              <p:cond delay="4500"/>
                            </p:stCondLst>
                            <p:childTnLst>
                              <p:par>
                                <p:cTn id="39" presetID="12" presetClass="entr" presetSubtype="1"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slide(fromTop)">
                                      <p:cBhvr>
                                        <p:cTn id="41" dur="500"/>
                                        <p:tgtEl>
                                          <p:spTgt spid="9"/>
                                        </p:tgtEl>
                                      </p:cBhvr>
                                    </p:animEffect>
                                  </p:childTnLst>
                                </p:cTn>
                              </p:par>
                            </p:childTnLst>
                          </p:cTn>
                        </p:par>
                        <p:par>
                          <p:cTn id="42" fill="hold">
                            <p:stCondLst>
                              <p:cond delay="5000"/>
                            </p:stCondLst>
                            <p:childTnLst>
                              <p:par>
                                <p:cTn id="43" presetID="12" presetClass="entr" presetSubtype="4" fill="hold" grpId="0" nodeType="after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slide(fromBottom)">
                                      <p:cBhvr>
                                        <p:cTn id="45" dur="500"/>
                                        <p:tgtEl>
                                          <p:spTgt spid="16"/>
                                        </p:tgtEl>
                                      </p:cBhvr>
                                    </p:animEffect>
                                  </p:childTnLst>
                                </p:cTn>
                              </p:par>
                            </p:childTnLst>
                          </p:cTn>
                        </p:par>
                        <p:par>
                          <p:cTn id="46" fill="hold">
                            <p:stCondLst>
                              <p:cond delay="5500"/>
                            </p:stCondLst>
                            <p:childTnLst>
                              <p:par>
                                <p:cTn id="47" presetID="12" presetClass="entr" presetSubtype="4" fill="hold" grpId="0" nodeType="after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slide(fromBottom)">
                                      <p:cBhvr>
                                        <p:cTn id="49" dur="500"/>
                                        <p:tgtEl>
                                          <p:spTgt spid="17"/>
                                        </p:tgtEl>
                                      </p:cBhvr>
                                    </p:animEffect>
                                  </p:childTnLst>
                                </p:cTn>
                              </p:par>
                            </p:childTnLst>
                          </p:cTn>
                        </p:par>
                        <p:par>
                          <p:cTn id="50" fill="hold">
                            <p:stCondLst>
                              <p:cond delay="6000"/>
                            </p:stCondLst>
                            <p:childTnLst>
                              <p:par>
                                <p:cTn id="51" presetID="37" presetClass="entr" presetSubtype="0" fill="hold" grpId="0" nodeType="after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1000"/>
                                        <p:tgtEl>
                                          <p:spTgt spid="19"/>
                                        </p:tgtEl>
                                      </p:cBhvr>
                                    </p:animEffect>
                                    <p:anim calcmode="lin" valueType="num">
                                      <p:cBhvr>
                                        <p:cTn id="54" dur="1000" fill="hold"/>
                                        <p:tgtEl>
                                          <p:spTgt spid="19"/>
                                        </p:tgtEl>
                                        <p:attrNameLst>
                                          <p:attrName>ppt_x</p:attrName>
                                        </p:attrNameLst>
                                      </p:cBhvr>
                                      <p:tavLst>
                                        <p:tav tm="0">
                                          <p:val>
                                            <p:strVal val="#ppt_x"/>
                                          </p:val>
                                        </p:tav>
                                        <p:tav tm="100000">
                                          <p:val>
                                            <p:strVal val="#ppt_x"/>
                                          </p:val>
                                        </p:tav>
                                      </p:tavLst>
                                    </p:anim>
                                    <p:anim calcmode="lin" valueType="num">
                                      <p:cBhvr>
                                        <p:cTn id="55" dur="900" decel="100000" fill="hold"/>
                                        <p:tgtEl>
                                          <p:spTgt spid="19"/>
                                        </p:tgtEl>
                                        <p:attrNameLst>
                                          <p:attrName>ppt_y</p:attrName>
                                        </p:attrNameLst>
                                      </p:cBhvr>
                                      <p:tavLst>
                                        <p:tav tm="0">
                                          <p:val>
                                            <p:strVal val="#ppt_y+1"/>
                                          </p:val>
                                        </p:tav>
                                        <p:tav tm="100000">
                                          <p:val>
                                            <p:strVal val="#ppt_y-.03"/>
                                          </p:val>
                                        </p:tav>
                                      </p:tavLst>
                                    </p:anim>
                                    <p:anim calcmode="lin" valueType="num">
                                      <p:cBhvr>
                                        <p:cTn id="56" dur="100" accel="100000" fill="hold">
                                          <p:stCondLst>
                                            <p:cond delay="900"/>
                                          </p:stCondLst>
                                        </p:cTn>
                                        <p:tgtEl>
                                          <p:spTgt spid="19"/>
                                        </p:tgtEl>
                                        <p:attrNameLst>
                                          <p:attrName>ppt_y</p:attrName>
                                        </p:attrNameLst>
                                      </p:cBhvr>
                                      <p:tavLst>
                                        <p:tav tm="0">
                                          <p:val>
                                            <p:strVal val="#ppt_y-.03"/>
                                          </p:val>
                                        </p:tav>
                                        <p:tav tm="100000">
                                          <p:val>
                                            <p:strVal val="#ppt_y"/>
                                          </p:val>
                                        </p:tav>
                                      </p:tavLst>
                                    </p:anim>
                                  </p:childTnLst>
                                </p:cTn>
                              </p:par>
                            </p:childTnLst>
                          </p:cTn>
                        </p:par>
                        <p:par>
                          <p:cTn id="57" fill="hold">
                            <p:stCondLst>
                              <p:cond delay="7000"/>
                            </p:stCondLst>
                            <p:childTnLst>
                              <p:par>
                                <p:cTn id="58" presetID="12" presetClass="entr" presetSubtype="4" fill="hold" grpId="0" nodeType="after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slide(fromBottom)">
                                      <p:cBhvr>
                                        <p:cTn id="60" dur="500"/>
                                        <p:tgtEl>
                                          <p:spTgt spid="20"/>
                                        </p:tgtEl>
                                      </p:cBhvr>
                                    </p:animEffect>
                                  </p:childTnLst>
                                </p:cTn>
                              </p:par>
                            </p:childTnLst>
                          </p:cTn>
                        </p:par>
                        <p:par>
                          <p:cTn id="61" fill="hold">
                            <p:stCondLst>
                              <p:cond delay="7500"/>
                            </p:stCondLst>
                            <p:childTnLst>
                              <p:par>
                                <p:cTn id="62" presetID="12" presetClass="entr" presetSubtype="1" fill="hold" grpId="0" nodeType="after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slide(fromTop)">
                                      <p:cBhvr>
                                        <p:cTn id="64" dur="500"/>
                                        <p:tgtEl>
                                          <p:spTgt spid="18"/>
                                        </p:tgtEl>
                                      </p:cBhvr>
                                    </p:animEffect>
                                  </p:childTnLst>
                                </p:cTn>
                              </p:par>
                            </p:childTnLst>
                          </p:cTn>
                        </p:par>
                        <p:par>
                          <p:cTn id="65" fill="hold">
                            <p:stCondLst>
                              <p:cond delay="8000"/>
                            </p:stCondLst>
                            <p:childTnLst>
                              <p:par>
                                <p:cTn id="66" presetID="12" presetClass="entr" presetSubtype="4" fill="hold" grpId="0" nodeType="after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slide(fromBottom)">
                                      <p:cBhvr>
                                        <p:cTn id="68" dur="500"/>
                                        <p:tgtEl>
                                          <p:spTgt spid="21"/>
                                        </p:tgtEl>
                                      </p:cBhvr>
                                    </p:animEffect>
                                  </p:childTnLst>
                                </p:cTn>
                              </p:par>
                            </p:childTnLst>
                          </p:cTn>
                        </p:par>
                        <p:par>
                          <p:cTn id="69" fill="hold">
                            <p:stCondLst>
                              <p:cond delay="8500"/>
                            </p:stCondLst>
                            <p:childTnLst>
                              <p:par>
                                <p:cTn id="70" presetID="12" presetClass="entr" presetSubtype="4" fill="hold" grpId="0" nodeType="afterEffect">
                                  <p:stCondLst>
                                    <p:cond delay="0"/>
                                  </p:stCondLst>
                                  <p:childTnLst>
                                    <p:set>
                                      <p:cBhvr>
                                        <p:cTn id="71" dur="1" fill="hold">
                                          <p:stCondLst>
                                            <p:cond delay="0"/>
                                          </p:stCondLst>
                                        </p:cTn>
                                        <p:tgtEl>
                                          <p:spTgt spid="22"/>
                                        </p:tgtEl>
                                        <p:attrNameLst>
                                          <p:attrName>style.visibility</p:attrName>
                                        </p:attrNameLst>
                                      </p:cBhvr>
                                      <p:to>
                                        <p:strVal val="visible"/>
                                      </p:to>
                                    </p:set>
                                    <p:animEffect transition="in" filter="slide(fromBottom)">
                                      <p:cBhvr>
                                        <p:cTn id="72" dur="500"/>
                                        <p:tgtEl>
                                          <p:spTgt spid="22"/>
                                        </p:tgtEl>
                                      </p:cBhvr>
                                    </p:animEffect>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grpId="0" nodeType="click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500"/>
                                        <p:tgtEl>
                                          <p:spTgt spid="24"/>
                                        </p:tgtEl>
                                      </p:cBhvr>
                                    </p:animEffect>
                                    <p:anim calcmode="lin" valueType="num">
                                      <p:cBhvr>
                                        <p:cTn id="78" dur="500" fill="hold"/>
                                        <p:tgtEl>
                                          <p:spTgt spid="24"/>
                                        </p:tgtEl>
                                        <p:attrNameLst>
                                          <p:attrName>ppt_x</p:attrName>
                                        </p:attrNameLst>
                                      </p:cBhvr>
                                      <p:tavLst>
                                        <p:tav tm="0">
                                          <p:val>
                                            <p:strVal val="#ppt_x"/>
                                          </p:val>
                                        </p:tav>
                                        <p:tav tm="100000">
                                          <p:val>
                                            <p:strVal val="#ppt_x"/>
                                          </p:val>
                                        </p:tav>
                                      </p:tavLst>
                                    </p:anim>
                                    <p:anim calcmode="lin" valueType="num">
                                      <p:cBhvr>
                                        <p:cTn id="79" dur="500" fill="hold"/>
                                        <p:tgtEl>
                                          <p:spTgt spid="24"/>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23"/>
                                        </p:tgtEl>
                                        <p:attrNameLst>
                                          <p:attrName>style.visibility</p:attrName>
                                        </p:attrNameLst>
                                      </p:cBhvr>
                                      <p:to>
                                        <p:strVal val="visible"/>
                                      </p:to>
                                    </p:set>
                                    <p:animEffect transition="in" filter="fade">
                                      <p:cBhvr>
                                        <p:cTn id="82" dur="500"/>
                                        <p:tgtEl>
                                          <p:spTgt spid="23"/>
                                        </p:tgtEl>
                                      </p:cBhvr>
                                    </p:animEffect>
                                    <p:anim calcmode="lin" valueType="num">
                                      <p:cBhvr>
                                        <p:cTn id="83" dur="500" fill="hold"/>
                                        <p:tgtEl>
                                          <p:spTgt spid="23"/>
                                        </p:tgtEl>
                                        <p:attrNameLst>
                                          <p:attrName>ppt_x</p:attrName>
                                        </p:attrNameLst>
                                      </p:cBhvr>
                                      <p:tavLst>
                                        <p:tav tm="0">
                                          <p:val>
                                            <p:strVal val="#ppt_x"/>
                                          </p:val>
                                        </p:tav>
                                        <p:tav tm="100000">
                                          <p:val>
                                            <p:strVal val="#ppt_x"/>
                                          </p:val>
                                        </p:tav>
                                      </p:tavLst>
                                    </p:anim>
                                    <p:anim calcmode="lin" valueType="num">
                                      <p:cBhvr>
                                        <p:cTn id="84"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animBg="1"/>
      <p:bldP spid="13" grpId="0"/>
      <p:bldP spid="14" grpId="0"/>
      <p:bldP spid="15" grpId="0"/>
      <p:bldP spid="16" grpId="0"/>
      <p:bldP spid="17" grpId="0"/>
      <p:bldP spid="18" grpId="0" animBg="1"/>
      <p:bldP spid="19" grpId="0" animBg="1"/>
      <p:bldP spid="20" grpId="0"/>
      <p:bldP spid="21" grpId="0"/>
      <p:bldP spid="22" grpId="0"/>
      <p:bldP spid="23" grpId="0"/>
      <p:bldP spid="2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自定义 3723">
      <a:dk1>
        <a:srgbClr val="779B37"/>
      </a:dk1>
      <a:lt1>
        <a:srgbClr val="84B3A3"/>
      </a:lt1>
      <a:dk2>
        <a:srgbClr val="779B37"/>
      </a:dk2>
      <a:lt2>
        <a:srgbClr val="84B3A3"/>
      </a:lt2>
      <a:accent1>
        <a:srgbClr val="000000"/>
      </a:accent1>
      <a:accent2>
        <a:srgbClr val="FFFFFF"/>
      </a:accent2>
      <a:accent3>
        <a:srgbClr val="5F5F5F"/>
      </a:accent3>
      <a:accent4>
        <a:srgbClr val="080808"/>
      </a:accent4>
      <a:accent5>
        <a:srgbClr val="080808"/>
      </a:accent5>
      <a:accent6>
        <a:srgbClr val="080808"/>
      </a:accent6>
      <a:hlink>
        <a:srgbClr val="080808"/>
      </a:hlink>
      <a:folHlink>
        <a:srgbClr val="08080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361</TotalTime>
  <Words>629</Words>
  <Application>Microsoft Office PowerPoint</Application>
  <PresentationFormat>全屏显示(16:9)</PresentationFormat>
  <Paragraphs>128</Paragraphs>
  <Slides>13</Slides>
  <Notes>11</Notes>
  <HiddenSlides>0</HiddenSlides>
  <MMClips>0</MMClips>
  <ScaleCrop>false</ScaleCrop>
  <HeadingPairs>
    <vt:vector size="6" baseType="variant">
      <vt:variant>
        <vt:lpstr>已用的字体</vt:lpstr>
      </vt:variant>
      <vt:variant>
        <vt:i4>7</vt:i4>
      </vt:variant>
      <vt:variant>
        <vt:lpstr>主题</vt:lpstr>
      </vt:variant>
      <vt:variant>
        <vt:i4>1</vt:i4>
      </vt:variant>
      <vt:variant>
        <vt:lpstr>幻灯片标题</vt:lpstr>
      </vt:variant>
      <vt:variant>
        <vt:i4>13</vt:i4>
      </vt:variant>
    </vt:vector>
  </HeadingPairs>
  <TitlesOfParts>
    <vt:vector size="21" baseType="lpstr">
      <vt:lpstr>方正中等线简体</vt:lpstr>
      <vt:lpstr>微软雅黑</vt:lpstr>
      <vt:lpstr>演示秋鸿楷</vt:lpstr>
      <vt:lpstr>Arial</vt:lpstr>
      <vt:lpstr>Arial Rounded MT Bold</vt:lpstr>
      <vt:lpstr>Calibri</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enovo</dc:creator>
  <cp:lastModifiedBy>金 瑜婷</cp:lastModifiedBy>
  <cp:revision>24</cp:revision>
  <dcterms:created xsi:type="dcterms:W3CDTF">2014-06-06T07:22:15Z</dcterms:created>
  <dcterms:modified xsi:type="dcterms:W3CDTF">2021-04-27T19:04:08Z</dcterms:modified>
</cp:coreProperties>
</file>